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62" r:id="rId3"/>
    <p:sldId id="258" r:id="rId4"/>
    <p:sldId id="259" r:id="rId5"/>
    <p:sldId id="261" r:id="rId6"/>
    <p:sldId id="263" r:id="rId7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4" autoAdjust="0"/>
    <p:restoredTop sz="94660"/>
  </p:normalViewPr>
  <p:slideViewPr>
    <p:cSldViewPr snapToGrid="0">
      <p:cViewPr varScale="1">
        <p:scale>
          <a:sx n="69" d="100"/>
          <a:sy n="69" d="100"/>
        </p:scale>
        <p:origin x="52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ACFC98C-97A2-4877-A79D-0A203BAE183F}" type="doc">
      <dgm:prSet loTypeId="urn:microsoft.com/office/officeart/2005/8/layout/radial3" loCatId="relationship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nb-NO"/>
        </a:p>
      </dgm:t>
    </dgm:pt>
    <dgm:pt modelId="{684A3659-C16B-4FC4-90C0-A28F4C22EDA5}">
      <dgm:prSet phldrT="[Tekst]" custT="1"/>
      <dgm:spPr/>
      <dgm:t>
        <a:bodyPr/>
        <a:lstStyle/>
        <a:p>
          <a:r>
            <a:rPr lang="nb-NO" sz="2400" dirty="0" smtClean="0"/>
            <a:t>Læring, </a:t>
          </a:r>
          <a:r>
            <a:rPr lang="nb-NO" sz="2400" dirty="0" err="1" smtClean="0"/>
            <a:t>meistring</a:t>
          </a:r>
          <a:r>
            <a:rPr lang="nb-NO" sz="2400" dirty="0" smtClean="0"/>
            <a:t>, fysikalsk medisin og rehabilitering</a:t>
          </a:r>
          <a:br>
            <a:rPr lang="nb-NO" sz="2400" dirty="0" smtClean="0"/>
          </a:br>
          <a:endParaRPr lang="nb-NO" sz="2400" dirty="0"/>
        </a:p>
      </dgm:t>
    </dgm:pt>
    <dgm:pt modelId="{0FA51048-5DB6-4FBC-8A8D-9D23076D47DB}" type="parTrans" cxnId="{ABBE5F21-B150-46FE-9A76-DA3C0043BACD}">
      <dgm:prSet/>
      <dgm:spPr/>
      <dgm:t>
        <a:bodyPr/>
        <a:lstStyle/>
        <a:p>
          <a:endParaRPr lang="nb-NO"/>
        </a:p>
      </dgm:t>
    </dgm:pt>
    <dgm:pt modelId="{FE6765C0-4560-4821-B60E-2A2AA4D2EEFF}" type="sibTrans" cxnId="{ABBE5F21-B150-46FE-9A76-DA3C0043BACD}">
      <dgm:prSet/>
      <dgm:spPr/>
      <dgm:t>
        <a:bodyPr/>
        <a:lstStyle/>
        <a:p>
          <a:endParaRPr lang="nb-NO"/>
        </a:p>
      </dgm:t>
    </dgm:pt>
    <dgm:pt modelId="{0722DAC6-AC62-4F97-A8E6-9C6A7C4AF242}">
      <dgm:prSet phldrT="[Tekst]" custT="1"/>
      <dgm:spPr/>
      <dgm:t>
        <a:bodyPr/>
        <a:lstStyle/>
        <a:p>
          <a:r>
            <a:rPr lang="nb-NO" sz="1000" b="1" dirty="0" smtClean="0"/>
            <a:t>Diabetes type 1</a:t>
          </a:r>
          <a:endParaRPr lang="nb-NO" sz="1000" b="1" dirty="0"/>
        </a:p>
      </dgm:t>
    </dgm:pt>
    <dgm:pt modelId="{2B6BA4FD-1E6C-46F9-A087-BE11A0F335AF}" type="parTrans" cxnId="{6E8373E3-A921-414B-BE5C-8668F8721538}">
      <dgm:prSet/>
      <dgm:spPr/>
      <dgm:t>
        <a:bodyPr/>
        <a:lstStyle/>
        <a:p>
          <a:endParaRPr lang="nb-NO"/>
        </a:p>
      </dgm:t>
    </dgm:pt>
    <dgm:pt modelId="{9141BA3D-4535-43F7-84B2-03A9833A9B8D}" type="sibTrans" cxnId="{6E8373E3-A921-414B-BE5C-8668F8721538}">
      <dgm:prSet/>
      <dgm:spPr/>
      <dgm:t>
        <a:bodyPr/>
        <a:lstStyle/>
        <a:p>
          <a:endParaRPr lang="nb-NO"/>
        </a:p>
      </dgm:t>
    </dgm:pt>
    <dgm:pt modelId="{D6865F87-8B28-4A41-B873-C5645D73D7B2}">
      <dgm:prSet phldrT="[Tekst]" custT="1"/>
      <dgm:spPr/>
      <dgm:t>
        <a:bodyPr/>
        <a:lstStyle/>
        <a:p>
          <a:r>
            <a:rPr lang="nb-NO" sz="1000" b="1" dirty="0" smtClean="0"/>
            <a:t>Møteplass Landsforeningen for </a:t>
          </a:r>
          <a:r>
            <a:rPr lang="nb-NO" sz="1000" b="1" dirty="0" err="1" smtClean="0"/>
            <a:t>pårørande</a:t>
          </a:r>
          <a:r>
            <a:rPr lang="nb-NO" sz="1000" b="1" dirty="0" smtClean="0"/>
            <a:t> innen psykisk helsevern (LPP)</a:t>
          </a:r>
          <a:endParaRPr lang="nb-NO" sz="1000" b="1" dirty="0"/>
        </a:p>
      </dgm:t>
    </dgm:pt>
    <dgm:pt modelId="{5326BF5B-0590-474F-B1A6-26CC9F768F6F}" type="parTrans" cxnId="{67F1ACCD-D85D-4FC0-9F5B-0ABF2E295E24}">
      <dgm:prSet/>
      <dgm:spPr/>
      <dgm:t>
        <a:bodyPr/>
        <a:lstStyle/>
        <a:p>
          <a:endParaRPr lang="nb-NO"/>
        </a:p>
      </dgm:t>
    </dgm:pt>
    <dgm:pt modelId="{12B80C4B-1083-44E9-8E77-84CE20C4AC5A}" type="sibTrans" cxnId="{67F1ACCD-D85D-4FC0-9F5B-0ABF2E295E24}">
      <dgm:prSet/>
      <dgm:spPr/>
      <dgm:t>
        <a:bodyPr/>
        <a:lstStyle/>
        <a:p>
          <a:endParaRPr lang="nb-NO"/>
        </a:p>
      </dgm:t>
    </dgm:pt>
    <dgm:pt modelId="{88BA2C43-8785-43D1-A528-692DBCDC4C15}">
      <dgm:prSet phldrT="[Tekst]" custT="1"/>
      <dgm:spPr/>
      <dgm:t>
        <a:bodyPr/>
        <a:lstStyle/>
        <a:p>
          <a:r>
            <a:rPr lang="nb-NO" sz="1000" b="1" dirty="0" err="1" smtClean="0"/>
            <a:t>Antikoaglasjon</a:t>
          </a:r>
          <a:r>
            <a:rPr lang="nb-NO" sz="1000" b="1" dirty="0" smtClean="0"/>
            <a:t> (INR) </a:t>
          </a:r>
          <a:endParaRPr lang="nb-NO" sz="1000" b="1" dirty="0"/>
        </a:p>
      </dgm:t>
    </dgm:pt>
    <dgm:pt modelId="{63F45916-52EE-42B8-91F6-47CA2F5B4815}" type="parTrans" cxnId="{3FE91C1B-E890-4F74-9FFD-2D9E3432BEC8}">
      <dgm:prSet/>
      <dgm:spPr/>
      <dgm:t>
        <a:bodyPr/>
        <a:lstStyle/>
        <a:p>
          <a:endParaRPr lang="nb-NO"/>
        </a:p>
      </dgm:t>
    </dgm:pt>
    <dgm:pt modelId="{0D537CF3-7C21-46CF-B2EF-461D077412B1}" type="sibTrans" cxnId="{3FE91C1B-E890-4F74-9FFD-2D9E3432BEC8}">
      <dgm:prSet/>
      <dgm:spPr/>
      <dgm:t>
        <a:bodyPr/>
        <a:lstStyle/>
        <a:p>
          <a:endParaRPr lang="nb-NO"/>
        </a:p>
      </dgm:t>
    </dgm:pt>
    <dgm:pt modelId="{0CCFF6B5-C911-4EDA-872D-38379FA0EC01}">
      <dgm:prSet phldrT="[Tekst]" custT="1"/>
      <dgm:spPr/>
      <dgm:t>
        <a:bodyPr/>
        <a:lstStyle/>
        <a:p>
          <a:r>
            <a:rPr lang="nb-NO" sz="1000" b="1" dirty="0" err="1" smtClean="0"/>
            <a:t>Tinnitus</a:t>
          </a:r>
          <a:r>
            <a:rPr lang="nb-NO" sz="1000" b="1" dirty="0" smtClean="0"/>
            <a:t> 1og 2</a:t>
          </a:r>
          <a:endParaRPr lang="nb-NO" sz="1000" b="1" dirty="0"/>
        </a:p>
      </dgm:t>
    </dgm:pt>
    <dgm:pt modelId="{81A4BE3C-22FB-48B4-A4FF-05BF8D47C1F9}" type="parTrans" cxnId="{13A64334-6367-4E6B-8992-4CF32D5D138B}">
      <dgm:prSet/>
      <dgm:spPr/>
      <dgm:t>
        <a:bodyPr/>
        <a:lstStyle/>
        <a:p>
          <a:endParaRPr lang="nb-NO"/>
        </a:p>
      </dgm:t>
    </dgm:pt>
    <dgm:pt modelId="{FFEF420F-C777-45D8-B763-D157A0A30D0C}" type="sibTrans" cxnId="{13A64334-6367-4E6B-8992-4CF32D5D138B}">
      <dgm:prSet/>
      <dgm:spPr/>
      <dgm:t>
        <a:bodyPr/>
        <a:lstStyle/>
        <a:p>
          <a:endParaRPr lang="nb-NO"/>
        </a:p>
      </dgm:t>
    </dgm:pt>
    <dgm:pt modelId="{6F093447-2D8A-4FE2-9AA6-E5EA66AF5585}">
      <dgm:prSet phldrT="[Tekst]" custT="1"/>
      <dgm:spPr/>
      <dgm:t>
        <a:bodyPr/>
        <a:lstStyle/>
        <a:p>
          <a:r>
            <a:rPr lang="nb-NO" sz="1000" b="1" dirty="0" err="1" smtClean="0"/>
            <a:t>Høyreapparat</a:t>
          </a:r>
          <a:endParaRPr lang="nb-NO" sz="1000" b="1" dirty="0"/>
        </a:p>
      </dgm:t>
    </dgm:pt>
    <dgm:pt modelId="{B24F7F34-1233-42C1-B49B-F895FB7BEF2D}" type="parTrans" cxnId="{FEE4AF7E-3BFE-4C12-B9E1-D08102DB0E26}">
      <dgm:prSet/>
      <dgm:spPr/>
      <dgm:t>
        <a:bodyPr/>
        <a:lstStyle/>
        <a:p>
          <a:endParaRPr lang="nb-NO"/>
        </a:p>
      </dgm:t>
    </dgm:pt>
    <dgm:pt modelId="{65531A23-BA06-4247-9075-9588B62C82DD}" type="sibTrans" cxnId="{FEE4AF7E-3BFE-4C12-B9E1-D08102DB0E26}">
      <dgm:prSet/>
      <dgm:spPr/>
      <dgm:t>
        <a:bodyPr/>
        <a:lstStyle/>
        <a:p>
          <a:endParaRPr lang="nb-NO"/>
        </a:p>
      </dgm:t>
    </dgm:pt>
    <dgm:pt modelId="{C37B1DEA-4521-4890-B072-47728A22AD47}">
      <dgm:prSet phldrT="[Tekst]" custT="1"/>
      <dgm:spPr/>
      <dgm:t>
        <a:bodyPr/>
        <a:lstStyle/>
        <a:p>
          <a:r>
            <a:rPr lang="nb-NO" sz="1000" b="1" dirty="0" smtClean="0"/>
            <a:t>KOLS </a:t>
          </a:r>
          <a:r>
            <a:rPr lang="nb-NO" sz="1000" b="1" dirty="0" err="1" smtClean="0"/>
            <a:t>rehab</a:t>
          </a:r>
          <a:endParaRPr lang="nb-NO" sz="1000" b="1" dirty="0"/>
        </a:p>
      </dgm:t>
    </dgm:pt>
    <dgm:pt modelId="{DE37EFDC-A945-4FA7-9F6B-5BBDD47BCDEB}" type="parTrans" cxnId="{D8EBB127-4797-4254-A0D4-EA4749FC0C6B}">
      <dgm:prSet/>
      <dgm:spPr/>
      <dgm:t>
        <a:bodyPr/>
        <a:lstStyle/>
        <a:p>
          <a:endParaRPr lang="nb-NO"/>
        </a:p>
      </dgm:t>
    </dgm:pt>
    <dgm:pt modelId="{9713CB29-22F2-413A-9CC3-14F041517979}" type="sibTrans" cxnId="{D8EBB127-4797-4254-A0D4-EA4749FC0C6B}">
      <dgm:prSet/>
      <dgm:spPr/>
      <dgm:t>
        <a:bodyPr/>
        <a:lstStyle/>
        <a:p>
          <a:endParaRPr lang="nb-NO"/>
        </a:p>
      </dgm:t>
    </dgm:pt>
    <dgm:pt modelId="{ED007044-93CE-4086-8FFC-8452A4AC9D02}">
      <dgm:prSet phldrT="[Tekst]" custT="1"/>
      <dgm:spPr/>
      <dgm:t>
        <a:bodyPr/>
        <a:lstStyle/>
        <a:p>
          <a:r>
            <a:rPr lang="nb-NO" sz="1000" b="1" dirty="0" err="1" smtClean="0"/>
            <a:t>Hjarte</a:t>
          </a:r>
          <a:endParaRPr lang="nb-NO" sz="1000" b="1" dirty="0" smtClean="0"/>
        </a:p>
        <a:p>
          <a:r>
            <a:rPr lang="nb-NO" sz="1000" b="1" dirty="0" smtClean="0"/>
            <a:t>rehabilitering</a:t>
          </a:r>
          <a:endParaRPr lang="nb-NO" sz="1000" b="1" dirty="0"/>
        </a:p>
      </dgm:t>
    </dgm:pt>
    <dgm:pt modelId="{33FF8C5A-6D3F-4B5E-86B0-27160EE371AB}" type="parTrans" cxnId="{A17C63A1-52F4-4FD8-91C1-FF4C71EAA9B8}">
      <dgm:prSet/>
      <dgm:spPr/>
      <dgm:t>
        <a:bodyPr/>
        <a:lstStyle/>
        <a:p>
          <a:endParaRPr lang="nb-NO"/>
        </a:p>
      </dgm:t>
    </dgm:pt>
    <dgm:pt modelId="{58D1CFE2-31EA-4DEB-9D5B-7EAAA55D3323}" type="sibTrans" cxnId="{A17C63A1-52F4-4FD8-91C1-FF4C71EAA9B8}">
      <dgm:prSet/>
      <dgm:spPr/>
      <dgm:t>
        <a:bodyPr/>
        <a:lstStyle/>
        <a:p>
          <a:endParaRPr lang="nb-NO"/>
        </a:p>
      </dgm:t>
    </dgm:pt>
    <dgm:pt modelId="{5F94EF3A-C01A-45F0-ACB2-65C4BC9CF602}">
      <dgm:prSet phldrT="[Tekst]" custT="1"/>
      <dgm:spPr/>
      <dgm:t>
        <a:bodyPr/>
        <a:lstStyle/>
        <a:p>
          <a:r>
            <a:rPr lang="nb-NO" sz="1000" b="1" dirty="0" err="1" smtClean="0"/>
            <a:t>Nyreskule</a:t>
          </a:r>
          <a:endParaRPr lang="nb-NO" sz="1000" b="1" dirty="0"/>
        </a:p>
      </dgm:t>
    </dgm:pt>
    <dgm:pt modelId="{9C1DF7E1-81B7-46C0-A11F-23F319C8F9FD}" type="parTrans" cxnId="{A0B99E24-0EDA-4B62-914F-16A69A664E73}">
      <dgm:prSet/>
      <dgm:spPr/>
      <dgm:t>
        <a:bodyPr/>
        <a:lstStyle/>
        <a:p>
          <a:endParaRPr lang="nb-NO"/>
        </a:p>
      </dgm:t>
    </dgm:pt>
    <dgm:pt modelId="{850E46DE-E5B4-4F49-8E57-133F6492B522}" type="sibTrans" cxnId="{A0B99E24-0EDA-4B62-914F-16A69A664E73}">
      <dgm:prSet/>
      <dgm:spPr/>
      <dgm:t>
        <a:bodyPr/>
        <a:lstStyle/>
        <a:p>
          <a:endParaRPr lang="nb-NO"/>
        </a:p>
      </dgm:t>
    </dgm:pt>
    <dgm:pt modelId="{5E9624D8-D6CE-4627-95D3-971D2EDB5F5E}">
      <dgm:prSet phldrT="[Tekst]" custT="1"/>
      <dgm:spPr/>
      <dgm:t>
        <a:bodyPr/>
        <a:lstStyle/>
        <a:p>
          <a:r>
            <a:rPr lang="nb-NO" sz="1000" b="1" dirty="0" err="1" smtClean="0"/>
            <a:t>Prekurs</a:t>
          </a:r>
          <a:r>
            <a:rPr lang="nb-NO" sz="1000" b="1" dirty="0" smtClean="0"/>
            <a:t> overvekt</a:t>
          </a:r>
          <a:endParaRPr lang="nb-NO" sz="1000" b="1" dirty="0"/>
        </a:p>
      </dgm:t>
    </dgm:pt>
    <dgm:pt modelId="{6E992585-0D49-4691-83B3-5FF60872EECF}" type="parTrans" cxnId="{A2CC892C-A208-4D69-A9FF-9802871A8D9E}">
      <dgm:prSet/>
      <dgm:spPr/>
      <dgm:t>
        <a:bodyPr/>
        <a:lstStyle/>
        <a:p>
          <a:endParaRPr lang="nb-NO"/>
        </a:p>
      </dgm:t>
    </dgm:pt>
    <dgm:pt modelId="{A3BE1675-ADBF-469D-A084-A8E9363FA733}" type="sibTrans" cxnId="{A2CC892C-A208-4D69-A9FF-9802871A8D9E}">
      <dgm:prSet/>
      <dgm:spPr/>
      <dgm:t>
        <a:bodyPr/>
        <a:lstStyle/>
        <a:p>
          <a:endParaRPr lang="nb-NO"/>
        </a:p>
      </dgm:t>
    </dgm:pt>
    <dgm:pt modelId="{C4599465-EB79-48D6-B862-8866977F8495}">
      <dgm:prSet phldrT="[Tekst]" custT="1"/>
      <dgm:spPr/>
      <dgm:t>
        <a:bodyPr/>
        <a:lstStyle/>
        <a:p>
          <a:r>
            <a:rPr lang="nb-NO" sz="1000" b="1" dirty="0" smtClean="0"/>
            <a:t>Oppfølging overvekt</a:t>
          </a:r>
          <a:endParaRPr lang="nb-NO" sz="1000" b="1" dirty="0"/>
        </a:p>
      </dgm:t>
    </dgm:pt>
    <dgm:pt modelId="{38FD2109-911E-4151-85EB-10A0AB71D93D}" type="parTrans" cxnId="{1B53316D-1FD2-4142-891F-8234B9FE9682}">
      <dgm:prSet/>
      <dgm:spPr/>
      <dgm:t>
        <a:bodyPr/>
        <a:lstStyle/>
        <a:p>
          <a:endParaRPr lang="nb-NO"/>
        </a:p>
      </dgm:t>
    </dgm:pt>
    <dgm:pt modelId="{4391A6B3-AFA3-4609-B093-9F4E4EDFBC84}" type="sibTrans" cxnId="{1B53316D-1FD2-4142-891F-8234B9FE9682}">
      <dgm:prSet/>
      <dgm:spPr/>
      <dgm:t>
        <a:bodyPr/>
        <a:lstStyle/>
        <a:p>
          <a:endParaRPr lang="nb-NO"/>
        </a:p>
      </dgm:t>
    </dgm:pt>
    <dgm:pt modelId="{F0D0BA15-FE4D-4EB9-A82D-79D4296101B6}">
      <dgm:prSet phldrT="[Tekst]" custT="1"/>
      <dgm:spPr/>
      <dgm:t>
        <a:bodyPr/>
        <a:lstStyle/>
        <a:p>
          <a:r>
            <a:rPr lang="nb-NO" sz="1000" b="1" dirty="0" smtClean="0"/>
            <a:t>Epilepsi</a:t>
          </a:r>
          <a:endParaRPr lang="nb-NO" sz="1000" b="1" dirty="0"/>
        </a:p>
      </dgm:t>
    </dgm:pt>
    <dgm:pt modelId="{41D92588-C16C-402A-979E-7706F4823704}" type="parTrans" cxnId="{F70DB32C-C10B-4CC6-995C-727D2DC2A888}">
      <dgm:prSet/>
      <dgm:spPr/>
      <dgm:t>
        <a:bodyPr/>
        <a:lstStyle/>
        <a:p>
          <a:endParaRPr lang="nb-NO"/>
        </a:p>
      </dgm:t>
    </dgm:pt>
    <dgm:pt modelId="{0EE9B353-8889-4B63-80AE-F9E889425308}" type="sibTrans" cxnId="{F70DB32C-C10B-4CC6-995C-727D2DC2A888}">
      <dgm:prSet/>
      <dgm:spPr/>
      <dgm:t>
        <a:bodyPr/>
        <a:lstStyle/>
        <a:p>
          <a:endParaRPr lang="nb-NO"/>
        </a:p>
      </dgm:t>
    </dgm:pt>
    <dgm:pt modelId="{7670F503-C63E-457E-B87A-D19017CED3C0}">
      <dgm:prSet phldrT="[Tekst]" custT="1"/>
      <dgm:spPr/>
      <dgm:t>
        <a:bodyPr/>
        <a:lstStyle/>
        <a:p>
          <a:r>
            <a:rPr lang="nb-NO" sz="1000" b="1" dirty="0" smtClean="0"/>
            <a:t>Barn: Starthjelp </a:t>
          </a:r>
          <a:endParaRPr lang="nb-NO" sz="1000" b="1" dirty="0"/>
        </a:p>
      </dgm:t>
    </dgm:pt>
    <dgm:pt modelId="{A5E8F6E9-9F68-48F9-90FB-CC87B7CB13ED}" type="parTrans" cxnId="{FB1DC184-7F06-4495-8B84-DDBCA401E0B4}">
      <dgm:prSet/>
      <dgm:spPr/>
      <dgm:t>
        <a:bodyPr/>
        <a:lstStyle/>
        <a:p>
          <a:endParaRPr lang="nb-NO"/>
        </a:p>
      </dgm:t>
    </dgm:pt>
    <dgm:pt modelId="{8B52B43A-1F42-448A-9A48-A5CF9FCFAA78}" type="sibTrans" cxnId="{FB1DC184-7F06-4495-8B84-DDBCA401E0B4}">
      <dgm:prSet/>
      <dgm:spPr/>
      <dgm:t>
        <a:bodyPr/>
        <a:lstStyle/>
        <a:p>
          <a:endParaRPr lang="nb-NO"/>
        </a:p>
      </dgm:t>
    </dgm:pt>
    <dgm:pt modelId="{24405BD5-4712-4CE0-ACA6-6306F421A5DA}">
      <dgm:prSet phldrT="[Tekst]" custT="1"/>
      <dgm:spPr/>
      <dgm:t>
        <a:bodyPr/>
        <a:lstStyle/>
        <a:p>
          <a:r>
            <a:rPr lang="nb-NO" sz="1000" b="1" dirty="0" smtClean="0"/>
            <a:t>Barn: Utviklings-hemning</a:t>
          </a:r>
          <a:endParaRPr lang="nb-NO" sz="1000" b="1" dirty="0"/>
        </a:p>
      </dgm:t>
    </dgm:pt>
    <dgm:pt modelId="{ECBB2C15-2BD4-4D50-B6DE-D16CDDE0DF20}" type="parTrans" cxnId="{571943CC-21BB-48A0-BE76-0E3C69B3498C}">
      <dgm:prSet/>
      <dgm:spPr/>
      <dgm:t>
        <a:bodyPr/>
        <a:lstStyle/>
        <a:p>
          <a:endParaRPr lang="nb-NO"/>
        </a:p>
      </dgm:t>
    </dgm:pt>
    <dgm:pt modelId="{7A8673EA-C663-4BDA-8421-305EAD5060A7}" type="sibTrans" cxnId="{571943CC-21BB-48A0-BE76-0E3C69B3498C}">
      <dgm:prSet/>
      <dgm:spPr/>
      <dgm:t>
        <a:bodyPr/>
        <a:lstStyle/>
        <a:p>
          <a:endParaRPr lang="nb-NO"/>
        </a:p>
      </dgm:t>
    </dgm:pt>
    <dgm:pt modelId="{504B1F59-A9B6-4B9F-AAF9-6FD778B00849}">
      <dgm:prSet phldrT="[Tekst]" custT="1"/>
      <dgm:spPr/>
      <dgm:t>
        <a:bodyPr/>
        <a:lstStyle/>
        <a:p>
          <a:r>
            <a:rPr lang="nb-NO" sz="1000" b="1" dirty="0" smtClean="0"/>
            <a:t>Barn: Opplæring diabetes besteforeldre, tanter, onkler </a:t>
          </a:r>
          <a:r>
            <a:rPr lang="nb-NO" sz="1000" b="1" dirty="0" err="1" smtClean="0"/>
            <a:t>osv</a:t>
          </a:r>
          <a:r>
            <a:rPr lang="nb-NO" sz="1000" b="1" dirty="0" smtClean="0"/>
            <a:t>  </a:t>
          </a:r>
          <a:endParaRPr lang="nb-NO" sz="1000" b="1" dirty="0"/>
        </a:p>
      </dgm:t>
    </dgm:pt>
    <dgm:pt modelId="{57176E91-C63B-44E5-8ED3-D2166E660A8C}" type="parTrans" cxnId="{A298D2FE-ABEA-4784-9241-45938D945228}">
      <dgm:prSet/>
      <dgm:spPr/>
      <dgm:t>
        <a:bodyPr/>
        <a:lstStyle/>
        <a:p>
          <a:endParaRPr lang="nb-NO"/>
        </a:p>
      </dgm:t>
    </dgm:pt>
    <dgm:pt modelId="{2039B2F8-4FB2-4751-B794-BF498CD7EFCA}" type="sibTrans" cxnId="{A298D2FE-ABEA-4784-9241-45938D945228}">
      <dgm:prSet/>
      <dgm:spPr/>
      <dgm:t>
        <a:bodyPr/>
        <a:lstStyle/>
        <a:p>
          <a:endParaRPr lang="nb-NO"/>
        </a:p>
      </dgm:t>
    </dgm:pt>
    <dgm:pt modelId="{5231FD09-1948-46B8-81D2-C2C83548096A}">
      <dgm:prSet phldrT="[Tekst]" custT="1"/>
      <dgm:spPr/>
      <dgm:t>
        <a:bodyPr/>
        <a:lstStyle/>
        <a:p>
          <a:r>
            <a:rPr lang="nb-NO" sz="1000" b="1" dirty="0" smtClean="0"/>
            <a:t>Barn: Opplæring diabetes </a:t>
          </a:r>
          <a:r>
            <a:rPr lang="nb-NO" sz="1000" b="1" dirty="0" err="1" smtClean="0"/>
            <a:t>lærarar</a:t>
          </a:r>
          <a:r>
            <a:rPr lang="nb-NO" sz="1000" b="1" dirty="0" smtClean="0"/>
            <a:t>/</a:t>
          </a:r>
          <a:r>
            <a:rPr lang="nb-NO" sz="1000" b="1" dirty="0" err="1" smtClean="0"/>
            <a:t>pedagogar</a:t>
          </a:r>
          <a:endParaRPr lang="nb-NO" sz="1000" b="1" dirty="0"/>
        </a:p>
      </dgm:t>
    </dgm:pt>
    <dgm:pt modelId="{D284E17A-2151-4A8D-A43A-A016DFEDA5FD}" type="parTrans" cxnId="{98E64718-E008-4DC6-93B6-A0A6D9D0ADF7}">
      <dgm:prSet/>
      <dgm:spPr/>
      <dgm:t>
        <a:bodyPr/>
        <a:lstStyle/>
        <a:p>
          <a:endParaRPr lang="nb-NO"/>
        </a:p>
      </dgm:t>
    </dgm:pt>
    <dgm:pt modelId="{61A5D4FE-4B4E-4B0D-A55D-7BB8A4D4E3EE}" type="sibTrans" cxnId="{98E64718-E008-4DC6-93B6-A0A6D9D0ADF7}">
      <dgm:prSet/>
      <dgm:spPr/>
      <dgm:t>
        <a:bodyPr/>
        <a:lstStyle/>
        <a:p>
          <a:endParaRPr lang="nb-NO"/>
        </a:p>
      </dgm:t>
    </dgm:pt>
    <dgm:pt modelId="{D629327A-BBA4-4B39-A503-D06250BA8307}">
      <dgm:prSet phldrT="[Tekst]" custT="1"/>
      <dgm:spPr/>
      <dgm:t>
        <a:bodyPr/>
        <a:lstStyle/>
        <a:p>
          <a:r>
            <a:rPr lang="nb-NO" sz="1000" b="1" dirty="0" smtClean="0"/>
            <a:t>Barn: Cøliaki</a:t>
          </a:r>
          <a:endParaRPr lang="nb-NO" sz="1000" b="1" dirty="0"/>
        </a:p>
      </dgm:t>
    </dgm:pt>
    <dgm:pt modelId="{BC0BF3EA-6B17-4504-BD53-597CABEED1FE}" type="parTrans" cxnId="{DCFCC7F0-C3A2-4255-8761-5B4BF0A9F239}">
      <dgm:prSet/>
      <dgm:spPr/>
      <dgm:t>
        <a:bodyPr/>
        <a:lstStyle/>
        <a:p>
          <a:endParaRPr lang="nb-NO"/>
        </a:p>
      </dgm:t>
    </dgm:pt>
    <dgm:pt modelId="{C930A8E3-6729-40BD-BD70-B81320C641BA}" type="sibTrans" cxnId="{DCFCC7F0-C3A2-4255-8761-5B4BF0A9F239}">
      <dgm:prSet/>
      <dgm:spPr/>
      <dgm:t>
        <a:bodyPr/>
        <a:lstStyle/>
        <a:p>
          <a:endParaRPr lang="nb-NO"/>
        </a:p>
      </dgm:t>
    </dgm:pt>
    <dgm:pt modelId="{BEE2231A-E653-4E7C-AA39-40903082F07E}">
      <dgm:prSet phldrT="[Tekst]" custT="1"/>
      <dgm:spPr/>
      <dgm:t>
        <a:bodyPr/>
        <a:lstStyle/>
        <a:p>
          <a:r>
            <a:rPr lang="nb-NO" sz="1000" b="1" dirty="0" err="1" smtClean="0"/>
            <a:t>Meistringskurs</a:t>
          </a:r>
          <a:r>
            <a:rPr lang="nb-NO" sz="1000" b="1" dirty="0" smtClean="0"/>
            <a:t> ved </a:t>
          </a:r>
          <a:r>
            <a:rPr lang="nb-NO" sz="1000" b="1" dirty="0" err="1" smtClean="0"/>
            <a:t>hjartesjukdom</a:t>
          </a:r>
          <a:endParaRPr lang="nb-NO" sz="1000" b="1" dirty="0"/>
        </a:p>
      </dgm:t>
    </dgm:pt>
    <dgm:pt modelId="{0119CC5E-1251-4B9B-8257-56125AB5D0DE}" type="parTrans" cxnId="{CF53763E-71E8-4DF3-8D8A-9866EFA6C2E4}">
      <dgm:prSet/>
      <dgm:spPr/>
      <dgm:t>
        <a:bodyPr/>
        <a:lstStyle/>
        <a:p>
          <a:endParaRPr lang="nb-NO"/>
        </a:p>
      </dgm:t>
    </dgm:pt>
    <dgm:pt modelId="{DD57E78F-F106-4170-BEA4-E365781473A0}" type="sibTrans" cxnId="{CF53763E-71E8-4DF3-8D8A-9866EFA6C2E4}">
      <dgm:prSet/>
      <dgm:spPr/>
      <dgm:t>
        <a:bodyPr/>
        <a:lstStyle/>
        <a:p>
          <a:endParaRPr lang="nb-NO"/>
        </a:p>
      </dgm:t>
    </dgm:pt>
    <dgm:pt modelId="{D192367F-9ED3-4449-B3DE-45CF8BADA7B7}">
      <dgm:prSet phldrT="[Tekst]" custT="1"/>
      <dgm:spPr/>
      <dgm:t>
        <a:bodyPr/>
        <a:lstStyle/>
        <a:p>
          <a:r>
            <a:rPr lang="nb-NO" sz="1000" b="1" dirty="0" err="1" smtClean="0"/>
            <a:t>Meistringskurs</a:t>
          </a:r>
          <a:r>
            <a:rPr lang="nb-NO" sz="1000" b="1" dirty="0" smtClean="0"/>
            <a:t> pasient og </a:t>
          </a:r>
          <a:r>
            <a:rPr lang="nb-NO" sz="1000" b="1" dirty="0" err="1" smtClean="0"/>
            <a:t>pårørande</a:t>
          </a:r>
          <a:r>
            <a:rPr lang="nb-NO" sz="1000" b="1" dirty="0" smtClean="0"/>
            <a:t> kreft</a:t>
          </a:r>
          <a:endParaRPr lang="nb-NO" sz="1000" b="1" dirty="0"/>
        </a:p>
      </dgm:t>
    </dgm:pt>
    <dgm:pt modelId="{8136A7B4-B3B8-4426-BB9C-7C40E2834908}" type="parTrans" cxnId="{C25DA05B-7DE2-47D5-B124-82A65FBA6A5D}">
      <dgm:prSet/>
      <dgm:spPr/>
      <dgm:t>
        <a:bodyPr/>
        <a:lstStyle/>
        <a:p>
          <a:endParaRPr lang="nb-NO"/>
        </a:p>
      </dgm:t>
    </dgm:pt>
    <dgm:pt modelId="{F05CEAEB-0228-4447-B1A9-F04E95364E04}" type="sibTrans" cxnId="{C25DA05B-7DE2-47D5-B124-82A65FBA6A5D}">
      <dgm:prSet/>
      <dgm:spPr/>
      <dgm:t>
        <a:bodyPr/>
        <a:lstStyle/>
        <a:p>
          <a:endParaRPr lang="nb-NO"/>
        </a:p>
      </dgm:t>
    </dgm:pt>
    <dgm:pt modelId="{3196DD19-1896-4D28-BD67-B0863E7DCD89}">
      <dgm:prSet phldrT="[Tekst]" custT="1"/>
      <dgm:spPr/>
      <dgm:t>
        <a:bodyPr/>
        <a:lstStyle/>
        <a:p>
          <a:r>
            <a:rPr lang="nb-NO" sz="1000" b="1" dirty="0" err="1" smtClean="0"/>
            <a:t>Pårørandesamlingar</a:t>
          </a:r>
          <a:r>
            <a:rPr lang="nb-NO" sz="1000" b="1" dirty="0" smtClean="0"/>
            <a:t> psykisk helsevern </a:t>
          </a:r>
          <a:endParaRPr lang="nb-NO" sz="1000" b="1" dirty="0"/>
        </a:p>
      </dgm:t>
    </dgm:pt>
    <dgm:pt modelId="{CF2C5ED8-EAC1-4E5B-B8F6-417E6E68DC2F}" type="parTrans" cxnId="{B14BA90E-BD71-4AAC-ABBA-953AD25AFD19}">
      <dgm:prSet/>
      <dgm:spPr/>
      <dgm:t>
        <a:bodyPr/>
        <a:lstStyle/>
        <a:p>
          <a:endParaRPr lang="nb-NO"/>
        </a:p>
      </dgm:t>
    </dgm:pt>
    <dgm:pt modelId="{3A469698-6AFA-4204-9EFA-EB7A0F7708DF}" type="sibTrans" cxnId="{B14BA90E-BD71-4AAC-ABBA-953AD25AFD19}">
      <dgm:prSet/>
      <dgm:spPr/>
      <dgm:t>
        <a:bodyPr/>
        <a:lstStyle/>
        <a:p>
          <a:endParaRPr lang="nb-NO"/>
        </a:p>
      </dgm:t>
    </dgm:pt>
    <dgm:pt modelId="{5D782802-9402-46A9-94DD-C5B7FE44DD38}">
      <dgm:prSet phldrT="[Tekst]" custT="1"/>
      <dgm:spPr/>
      <dgm:t>
        <a:bodyPr/>
        <a:lstStyle/>
        <a:p>
          <a:r>
            <a:rPr lang="nb-NO" sz="1000" b="1" dirty="0" err="1" smtClean="0"/>
            <a:t>Temakveldar</a:t>
          </a:r>
          <a:r>
            <a:rPr lang="nb-NO" sz="1000" b="1" dirty="0" smtClean="0"/>
            <a:t> Psykisk helsevern</a:t>
          </a:r>
          <a:endParaRPr lang="nb-NO" sz="1000" b="1" dirty="0"/>
        </a:p>
      </dgm:t>
    </dgm:pt>
    <dgm:pt modelId="{A7F63AF8-D3AF-454A-8366-228A1EDD2BDB}" type="parTrans" cxnId="{4F945C83-0BA9-4E2E-BFA8-00BE77E4A7F5}">
      <dgm:prSet/>
      <dgm:spPr/>
      <dgm:t>
        <a:bodyPr/>
        <a:lstStyle/>
        <a:p>
          <a:endParaRPr lang="nb-NO"/>
        </a:p>
      </dgm:t>
    </dgm:pt>
    <dgm:pt modelId="{8B9F7EFA-8A01-4ADF-9C25-3312343A0589}" type="sibTrans" cxnId="{4F945C83-0BA9-4E2E-BFA8-00BE77E4A7F5}">
      <dgm:prSet/>
      <dgm:spPr/>
      <dgm:t>
        <a:bodyPr/>
        <a:lstStyle/>
        <a:p>
          <a:endParaRPr lang="nb-NO"/>
        </a:p>
      </dgm:t>
    </dgm:pt>
    <dgm:pt modelId="{C5D7EE84-BD1B-4247-84D1-BE03F8210ED3}">
      <dgm:prSet phldrT="[Tekst]" custT="1"/>
      <dgm:spPr/>
      <dgm:t>
        <a:bodyPr/>
        <a:lstStyle/>
        <a:p>
          <a:r>
            <a:rPr lang="nb-NO" sz="1000" b="1" dirty="0" smtClean="0"/>
            <a:t> Diabetes type 2</a:t>
          </a:r>
          <a:endParaRPr lang="nb-NO" sz="1000" b="1" dirty="0"/>
        </a:p>
      </dgm:t>
    </dgm:pt>
    <dgm:pt modelId="{3672B207-2382-45C8-8BE9-4E8C7D4EEAB5}" type="parTrans" cxnId="{D60F76E7-3A7D-43CA-96AB-D8192AEFAB5D}">
      <dgm:prSet/>
      <dgm:spPr/>
      <dgm:t>
        <a:bodyPr/>
        <a:lstStyle/>
        <a:p>
          <a:endParaRPr lang="nb-NO"/>
        </a:p>
      </dgm:t>
    </dgm:pt>
    <dgm:pt modelId="{F820E0F0-715C-4A79-B2B3-DD705DA2AE2A}" type="sibTrans" cxnId="{D60F76E7-3A7D-43CA-96AB-D8192AEFAB5D}">
      <dgm:prSet/>
      <dgm:spPr/>
      <dgm:t>
        <a:bodyPr/>
        <a:lstStyle/>
        <a:p>
          <a:endParaRPr lang="nb-NO"/>
        </a:p>
      </dgm:t>
    </dgm:pt>
    <dgm:pt modelId="{04ACD49C-5063-41BF-97D8-D604F754405E}">
      <dgm:prSet phldrT="[Tekst]" custT="1"/>
      <dgm:spPr/>
      <dgm:t>
        <a:bodyPr/>
        <a:lstStyle/>
        <a:p>
          <a:r>
            <a:rPr lang="nb-NO" sz="1000" b="1" dirty="0" smtClean="0"/>
            <a:t>Barn: Cøliaki for </a:t>
          </a:r>
          <a:r>
            <a:rPr lang="nb-NO" sz="1000" b="1" dirty="0" err="1" smtClean="0"/>
            <a:t>lærarar</a:t>
          </a:r>
          <a:r>
            <a:rPr lang="nb-NO" sz="1000" b="1" dirty="0" smtClean="0"/>
            <a:t> og andre</a:t>
          </a:r>
          <a:endParaRPr lang="nb-NO" sz="1000" b="1" dirty="0"/>
        </a:p>
      </dgm:t>
    </dgm:pt>
    <dgm:pt modelId="{2634240D-BF20-4A4C-8D51-C2D4DFCE9111}" type="parTrans" cxnId="{D4C44217-E723-4494-8B81-F108FAF64AD5}">
      <dgm:prSet/>
      <dgm:spPr/>
      <dgm:t>
        <a:bodyPr/>
        <a:lstStyle/>
        <a:p>
          <a:endParaRPr lang="nb-NO"/>
        </a:p>
      </dgm:t>
    </dgm:pt>
    <dgm:pt modelId="{800B6112-26DA-435F-84AA-A84591EF3596}" type="sibTrans" cxnId="{D4C44217-E723-4494-8B81-F108FAF64AD5}">
      <dgm:prSet/>
      <dgm:spPr/>
      <dgm:t>
        <a:bodyPr/>
        <a:lstStyle/>
        <a:p>
          <a:endParaRPr lang="nb-NO"/>
        </a:p>
      </dgm:t>
    </dgm:pt>
    <dgm:pt modelId="{FE89201D-F888-45A7-8528-65A983AEB2D0}">
      <dgm:prSet phldrT="[Tekst]" custT="1"/>
      <dgm:spPr/>
      <dgm:t>
        <a:bodyPr/>
        <a:lstStyle/>
        <a:p>
          <a:r>
            <a:rPr lang="nb-NO" sz="1000" b="1" dirty="0" smtClean="0"/>
            <a:t>Barn: ME</a:t>
          </a:r>
          <a:endParaRPr lang="nb-NO" sz="1000" b="1" dirty="0"/>
        </a:p>
      </dgm:t>
    </dgm:pt>
    <dgm:pt modelId="{E1C5EF6B-25DB-4EAB-ADAA-8C1521E93827}" type="parTrans" cxnId="{292862FB-AEA2-47F5-9EAC-39C9644449E0}">
      <dgm:prSet/>
      <dgm:spPr/>
      <dgm:t>
        <a:bodyPr/>
        <a:lstStyle/>
        <a:p>
          <a:endParaRPr lang="nb-NO"/>
        </a:p>
      </dgm:t>
    </dgm:pt>
    <dgm:pt modelId="{071BF19F-17BE-4436-9CC6-2BFCD4A17B81}" type="sibTrans" cxnId="{292862FB-AEA2-47F5-9EAC-39C9644449E0}">
      <dgm:prSet/>
      <dgm:spPr/>
      <dgm:t>
        <a:bodyPr/>
        <a:lstStyle/>
        <a:p>
          <a:endParaRPr lang="nb-NO"/>
        </a:p>
      </dgm:t>
    </dgm:pt>
    <dgm:pt modelId="{84711B06-4B30-40ED-8BC4-6917353F0AC0}">
      <dgm:prSet phldrT="[Tekst]" custT="1"/>
      <dgm:spPr/>
      <dgm:t>
        <a:bodyPr/>
        <a:lstStyle/>
        <a:p>
          <a:r>
            <a:rPr lang="nb-NO" sz="1000" b="1" dirty="0" smtClean="0"/>
            <a:t>Barn: Heilt sjef</a:t>
          </a:r>
          <a:endParaRPr lang="nb-NO" sz="1000" b="1" dirty="0"/>
        </a:p>
      </dgm:t>
    </dgm:pt>
    <dgm:pt modelId="{2C28E93E-5B41-4FE9-9F3E-797AF5B059A5}" type="parTrans" cxnId="{B9307836-BC38-4FFA-B0ED-BBD73E3F5CDA}">
      <dgm:prSet/>
      <dgm:spPr/>
      <dgm:t>
        <a:bodyPr/>
        <a:lstStyle/>
        <a:p>
          <a:endParaRPr lang="nb-NO"/>
        </a:p>
      </dgm:t>
    </dgm:pt>
    <dgm:pt modelId="{0FC7E5BB-4115-4CF6-9048-81C48921A826}" type="sibTrans" cxnId="{B9307836-BC38-4FFA-B0ED-BBD73E3F5CDA}">
      <dgm:prSet/>
      <dgm:spPr/>
      <dgm:t>
        <a:bodyPr/>
        <a:lstStyle/>
        <a:p>
          <a:endParaRPr lang="nb-NO"/>
        </a:p>
      </dgm:t>
    </dgm:pt>
    <dgm:pt modelId="{F5B5DFC6-EEDA-4246-B945-07308CFBFCC5}">
      <dgm:prSet phldrT="[Tekst]" custT="1"/>
      <dgm:spPr/>
      <dgm:t>
        <a:bodyPr/>
        <a:lstStyle/>
        <a:p>
          <a:r>
            <a:rPr lang="nb-NO" sz="1000" b="1" dirty="0" smtClean="0"/>
            <a:t>Osteoporose</a:t>
          </a:r>
          <a:endParaRPr lang="nb-NO" sz="1000" b="1" dirty="0"/>
        </a:p>
      </dgm:t>
    </dgm:pt>
    <dgm:pt modelId="{CE4DEBA6-DD96-4645-BE68-CAF4569A9353}" type="parTrans" cxnId="{CB1DD85B-278A-4A3D-9E76-7537F71F0C3C}">
      <dgm:prSet/>
      <dgm:spPr/>
      <dgm:t>
        <a:bodyPr/>
        <a:lstStyle/>
        <a:p>
          <a:endParaRPr lang="nb-NO"/>
        </a:p>
      </dgm:t>
    </dgm:pt>
    <dgm:pt modelId="{48E13FA4-3561-4847-B562-FC70E46B8B04}" type="sibTrans" cxnId="{CB1DD85B-278A-4A3D-9E76-7537F71F0C3C}">
      <dgm:prSet/>
      <dgm:spPr/>
      <dgm:t>
        <a:bodyPr/>
        <a:lstStyle/>
        <a:p>
          <a:endParaRPr lang="nb-NO"/>
        </a:p>
      </dgm:t>
    </dgm:pt>
    <dgm:pt modelId="{A80541ED-E426-4ECE-AC75-A0ED23E1F8F4}">
      <dgm:prSet phldrT="[Tekst]" custT="1"/>
      <dgm:spPr/>
      <dgm:t>
        <a:bodyPr/>
        <a:lstStyle/>
        <a:p>
          <a:r>
            <a:rPr lang="nb-NO" sz="1000" b="1" dirty="0" smtClean="0"/>
            <a:t>Småleddsarthose</a:t>
          </a:r>
          <a:endParaRPr lang="nb-NO" sz="1000" b="1" dirty="0"/>
        </a:p>
      </dgm:t>
    </dgm:pt>
    <dgm:pt modelId="{1239A34B-E2DC-4F02-B4DE-0EAD08179500}" type="parTrans" cxnId="{3D689384-B0BE-4ADC-80B1-16AB877D020A}">
      <dgm:prSet/>
      <dgm:spPr/>
      <dgm:t>
        <a:bodyPr/>
        <a:lstStyle/>
        <a:p>
          <a:endParaRPr lang="nb-NO"/>
        </a:p>
      </dgm:t>
    </dgm:pt>
    <dgm:pt modelId="{AFEC4015-FA65-4505-BDFD-65CC54638FF7}" type="sibTrans" cxnId="{3D689384-B0BE-4ADC-80B1-16AB877D020A}">
      <dgm:prSet/>
      <dgm:spPr/>
      <dgm:t>
        <a:bodyPr/>
        <a:lstStyle/>
        <a:p>
          <a:endParaRPr lang="nb-NO"/>
        </a:p>
      </dgm:t>
    </dgm:pt>
    <dgm:pt modelId="{6AFA3B54-664E-4367-A4A1-072775B76B41}">
      <dgm:prSet phldrT="[Tekst]" custT="1"/>
      <dgm:spPr/>
      <dgm:t>
        <a:bodyPr/>
        <a:lstStyle/>
        <a:p>
          <a:r>
            <a:rPr lang="nb-NO" sz="1000" b="1" dirty="0" err="1" smtClean="0"/>
            <a:t>Spondylartritt</a:t>
          </a:r>
          <a:endParaRPr lang="nb-NO" sz="1000" b="1" dirty="0"/>
        </a:p>
      </dgm:t>
    </dgm:pt>
    <dgm:pt modelId="{B316B7CD-8F0F-40B3-A4DB-7E898AB27B94}" type="parTrans" cxnId="{AA0BB83B-A710-4E2E-9725-F1C2FF375270}">
      <dgm:prSet/>
      <dgm:spPr/>
      <dgm:t>
        <a:bodyPr/>
        <a:lstStyle/>
        <a:p>
          <a:endParaRPr lang="nb-NO"/>
        </a:p>
      </dgm:t>
    </dgm:pt>
    <dgm:pt modelId="{47A34369-FEA8-4704-9FCC-3C83DE0C2A3E}" type="sibTrans" cxnId="{AA0BB83B-A710-4E2E-9725-F1C2FF375270}">
      <dgm:prSet/>
      <dgm:spPr/>
      <dgm:t>
        <a:bodyPr/>
        <a:lstStyle/>
        <a:p>
          <a:endParaRPr lang="nb-NO"/>
        </a:p>
      </dgm:t>
    </dgm:pt>
    <dgm:pt modelId="{F35F8397-AF87-4A65-9B2E-81386F2B0021}">
      <dgm:prSet phldrT="[Tekst]" custT="1"/>
      <dgm:spPr/>
      <dgm:t>
        <a:bodyPr/>
        <a:lstStyle/>
        <a:p>
          <a:r>
            <a:rPr lang="nb-NO" sz="1000" b="1" dirty="0" smtClean="0"/>
            <a:t>Grønn </a:t>
          </a:r>
          <a:r>
            <a:rPr lang="nb-NO" sz="1000" b="1" dirty="0" err="1" smtClean="0"/>
            <a:t>stær</a:t>
          </a:r>
          <a:endParaRPr lang="nb-NO" sz="1000" b="1" dirty="0"/>
        </a:p>
      </dgm:t>
    </dgm:pt>
    <dgm:pt modelId="{5D2C0788-38A9-45D5-831C-961658038B66}" type="parTrans" cxnId="{165E7462-9E60-4E7F-A1BE-BC49A80C0197}">
      <dgm:prSet/>
      <dgm:spPr/>
      <dgm:t>
        <a:bodyPr/>
        <a:lstStyle/>
        <a:p>
          <a:endParaRPr lang="nb-NO"/>
        </a:p>
      </dgm:t>
    </dgm:pt>
    <dgm:pt modelId="{36BE9D1B-E28D-45CF-8A4C-D351707E18DF}" type="sibTrans" cxnId="{165E7462-9E60-4E7F-A1BE-BC49A80C0197}">
      <dgm:prSet/>
      <dgm:spPr/>
      <dgm:t>
        <a:bodyPr/>
        <a:lstStyle/>
        <a:p>
          <a:endParaRPr lang="nb-NO"/>
        </a:p>
      </dgm:t>
    </dgm:pt>
    <dgm:pt modelId="{97CE49AA-6B5B-4C05-A547-69E131534C53}">
      <dgm:prSet phldrT="[Tekst]" custT="1"/>
      <dgm:spPr/>
      <dgm:t>
        <a:bodyPr/>
        <a:lstStyle/>
        <a:p>
          <a:r>
            <a:rPr lang="nb-NO" sz="1000" b="1" dirty="0" smtClean="0"/>
            <a:t>Multippel sklerose</a:t>
          </a:r>
          <a:endParaRPr lang="nb-NO" sz="1000" b="1" dirty="0"/>
        </a:p>
      </dgm:t>
    </dgm:pt>
    <dgm:pt modelId="{C4B7FDDE-625A-4CA9-8B79-CC92764CCF7F}" type="parTrans" cxnId="{8C492AA1-323D-48BB-BEC8-AEC02FEDB773}">
      <dgm:prSet/>
      <dgm:spPr/>
      <dgm:t>
        <a:bodyPr/>
        <a:lstStyle/>
        <a:p>
          <a:endParaRPr lang="nb-NO"/>
        </a:p>
      </dgm:t>
    </dgm:pt>
    <dgm:pt modelId="{1E04EB51-EB94-461B-A36A-73A0D89FC695}" type="sibTrans" cxnId="{8C492AA1-323D-48BB-BEC8-AEC02FEDB773}">
      <dgm:prSet/>
      <dgm:spPr/>
      <dgm:t>
        <a:bodyPr/>
        <a:lstStyle/>
        <a:p>
          <a:endParaRPr lang="nb-NO"/>
        </a:p>
      </dgm:t>
    </dgm:pt>
    <dgm:pt modelId="{D5F48018-F2D8-4AD5-B88D-3346E7A2DF87}">
      <dgm:prSet phldrT="[Tekst]" custT="1"/>
      <dgm:spPr/>
      <dgm:t>
        <a:bodyPr/>
        <a:lstStyle/>
        <a:p>
          <a:r>
            <a:rPr lang="nb-NO" sz="1000" b="1" dirty="0" err="1" smtClean="0"/>
            <a:t>Parkinsson</a:t>
          </a:r>
          <a:endParaRPr lang="nb-NO" sz="1000" b="1" dirty="0"/>
        </a:p>
      </dgm:t>
    </dgm:pt>
    <dgm:pt modelId="{25E6B697-D344-4025-A7F8-8AE01A14A1F9}" type="parTrans" cxnId="{222674B5-BC5E-454B-AC8C-611CF072939E}">
      <dgm:prSet/>
      <dgm:spPr/>
      <dgm:t>
        <a:bodyPr/>
        <a:lstStyle/>
        <a:p>
          <a:endParaRPr lang="nb-NO"/>
        </a:p>
      </dgm:t>
    </dgm:pt>
    <dgm:pt modelId="{E05D92D1-E35A-4F52-98B7-B53D1111166B}" type="sibTrans" cxnId="{222674B5-BC5E-454B-AC8C-611CF072939E}">
      <dgm:prSet/>
      <dgm:spPr/>
      <dgm:t>
        <a:bodyPr/>
        <a:lstStyle/>
        <a:p>
          <a:endParaRPr lang="nb-NO"/>
        </a:p>
      </dgm:t>
    </dgm:pt>
    <dgm:pt modelId="{68C1F8D3-6B2E-4020-8863-0CD2274190AD}">
      <dgm:prSet phldrT="[Tekst]" custT="1"/>
      <dgm:spPr/>
      <dgm:t>
        <a:bodyPr/>
        <a:lstStyle/>
        <a:p>
          <a:r>
            <a:rPr lang="nb-NO" sz="1000" b="1" dirty="0" smtClean="0"/>
            <a:t>Gruppebasert rehabilitering</a:t>
          </a:r>
          <a:endParaRPr lang="nb-NO" sz="1000" b="1" dirty="0"/>
        </a:p>
      </dgm:t>
    </dgm:pt>
    <dgm:pt modelId="{B282B1D6-0F65-4AFC-8524-D5A4B4CFF0A8}" type="parTrans" cxnId="{E9390EB5-B803-4F35-B761-AE332BEDE9F2}">
      <dgm:prSet/>
      <dgm:spPr/>
      <dgm:t>
        <a:bodyPr/>
        <a:lstStyle/>
        <a:p>
          <a:endParaRPr lang="nb-NO"/>
        </a:p>
      </dgm:t>
    </dgm:pt>
    <dgm:pt modelId="{264FEEF5-266F-4260-9485-3F2F17A5A03D}" type="sibTrans" cxnId="{E9390EB5-B803-4F35-B761-AE332BEDE9F2}">
      <dgm:prSet/>
      <dgm:spPr/>
      <dgm:t>
        <a:bodyPr/>
        <a:lstStyle/>
        <a:p>
          <a:endParaRPr lang="nb-NO"/>
        </a:p>
      </dgm:t>
    </dgm:pt>
    <dgm:pt modelId="{31E9C24C-6875-41C3-957C-7D3413161056}">
      <dgm:prSet phldrT="[Tekst]" custT="1"/>
      <dgm:spPr/>
      <dgm:t>
        <a:bodyPr/>
        <a:lstStyle/>
        <a:p>
          <a:r>
            <a:rPr lang="nb-NO" sz="1000" b="1" dirty="0" err="1" smtClean="0"/>
            <a:t>Meistringskurs</a:t>
          </a:r>
          <a:r>
            <a:rPr lang="nb-NO" sz="1000" b="1" dirty="0" smtClean="0"/>
            <a:t> </a:t>
          </a:r>
          <a:r>
            <a:rPr lang="nb-NO" sz="1000" b="1" dirty="0" err="1" smtClean="0"/>
            <a:t>pasientar</a:t>
          </a:r>
          <a:r>
            <a:rPr lang="nb-NO" sz="1000" b="1" dirty="0" smtClean="0"/>
            <a:t> og </a:t>
          </a:r>
          <a:r>
            <a:rPr lang="nb-NO" sz="1000" b="1" dirty="0" err="1" smtClean="0"/>
            <a:t>pårørande</a:t>
          </a:r>
          <a:r>
            <a:rPr lang="nb-NO" sz="1000" b="1" dirty="0" smtClean="0"/>
            <a:t> kreft</a:t>
          </a:r>
          <a:endParaRPr lang="nb-NO" sz="1000" b="1" dirty="0"/>
        </a:p>
      </dgm:t>
    </dgm:pt>
    <dgm:pt modelId="{E42AA51E-49D3-4FBA-8744-017ABECCEC85}" type="parTrans" cxnId="{167263CC-F54B-4870-8C43-AB9049D6C029}">
      <dgm:prSet/>
      <dgm:spPr/>
      <dgm:t>
        <a:bodyPr/>
        <a:lstStyle/>
        <a:p>
          <a:endParaRPr lang="nb-NO"/>
        </a:p>
      </dgm:t>
    </dgm:pt>
    <dgm:pt modelId="{9641AE2B-DC83-4FC1-9A0A-17B7D837A5A7}" type="sibTrans" cxnId="{167263CC-F54B-4870-8C43-AB9049D6C029}">
      <dgm:prSet/>
      <dgm:spPr/>
      <dgm:t>
        <a:bodyPr/>
        <a:lstStyle/>
        <a:p>
          <a:endParaRPr lang="nb-NO"/>
        </a:p>
      </dgm:t>
    </dgm:pt>
    <dgm:pt modelId="{131E7FFA-894D-48E9-8173-A8AA4F251E37}">
      <dgm:prSet phldrT="[Tekst]" custT="1"/>
      <dgm:spPr/>
      <dgm:t>
        <a:bodyPr/>
        <a:lstStyle/>
        <a:p>
          <a:r>
            <a:rPr lang="nb-NO" sz="1000" b="1" dirty="0" smtClean="0"/>
            <a:t>Livsstyrketrening</a:t>
          </a:r>
          <a:endParaRPr lang="nb-NO" sz="1000" b="1" dirty="0"/>
        </a:p>
      </dgm:t>
    </dgm:pt>
    <dgm:pt modelId="{1FDF06CB-00FA-46B7-BB2C-D56FE8DFC65C}" type="parTrans" cxnId="{E4B2508C-F366-4787-A1E5-2AA0458F7E3A}">
      <dgm:prSet/>
      <dgm:spPr/>
      <dgm:t>
        <a:bodyPr/>
        <a:lstStyle/>
        <a:p>
          <a:endParaRPr lang="nb-NO"/>
        </a:p>
      </dgm:t>
    </dgm:pt>
    <dgm:pt modelId="{CEB0E732-6817-4C7E-9CBC-69D4D997935C}" type="sibTrans" cxnId="{E4B2508C-F366-4787-A1E5-2AA0458F7E3A}">
      <dgm:prSet/>
      <dgm:spPr/>
      <dgm:t>
        <a:bodyPr/>
        <a:lstStyle/>
        <a:p>
          <a:endParaRPr lang="nb-NO"/>
        </a:p>
      </dgm:t>
    </dgm:pt>
    <dgm:pt modelId="{7314E971-D0D1-4850-AC94-15B978AFA4C5}">
      <dgm:prSet phldrT="[Tekst]" custT="1"/>
      <dgm:spPr/>
      <dgm:t>
        <a:bodyPr/>
        <a:lstStyle/>
        <a:p>
          <a:r>
            <a:rPr lang="nb-NO" sz="1000" b="1" dirty="0" smtClean="0"/>
            <a:t>Nettverkssamling for </a:t>
          </a:r>
          <a:r>
            <a:rPr lang="nb-NO" sz="1000" b="1" smtClean="0"/>
            <a:t>oksygenbrukarar</a:t>
          </a:r>
          <a:endParaRPr lang="nb-NO" sz="1000" b="1" dirty="0"/>
        </a:p>
      </dgm:t>
    </dgm:pt>
    <dgm:pt modelId="{7B10D3B1-C2B4-492A-B826-0792C1B41C89}" type="parTrans" cxnId="{4C17F81F-4B46-4B36-B20E-862CFE879B6F}">
      <dgm:prSet/>
      <dgm:spPr/>
      <dgm:t>
        <a:bodyPr/>
        <a:lstStyle/>
        <a:p>
          <a:endParaRPr lang="nb-NO"/>
        </a:p>
      </dgm:t>
    </dgm:pt>
    <dgm:pt modelId="{0A8C5166-321F-4DEF-BAE8-569B7EC6ECCD}" type="sibTrans" cxnId="{4C17F81F-4B46-4B36-B20E-862CFE879B6F}">
      <dgm:prSet/>
      <dgm:spPr/>
      <dgm:t>
        <a:bodyPr/>
        <a:lstStyle/>
        <a:p>
          <a:endParaRPr lang="nb-NO"/>
        </a:p>
      </dgm:t>
    </dgm:pt>
    <dgm:pt modelId="{478B9072-E20B-4A40-8918-AF5AD2174F13}">
      <dgm:prSet phldrT="[Tekst]" custT="1"/>
      <dgm:spPr/>
      <dgm:t>
        <a:bodyPr/>
        <a:lstStyle/>
        <a:p>
          <a:r>
            <a:rPr lang="nb-NO" sz="1000" b="1" dirty="0" smtClean="0"/>
            <a:t>IBS – irritable </a:t>
          </a:r>
          <a:r>
            <a:rPr lang="nb-NO" sz="1000" b="1" dirty="0" err="1" smtClean="0"/>
            <a:t>bowel</a:t>
          </a:r>
          <a:r>
            <a:rPr lang="nb-NO" sz="1000" b="1" dirty="0" smtClean="0"/>
            <a:t> syndrom</a:t>
          </a:r>
          <a:endParaRPr lang="nb-NO" sz="1000" b="1" dirty="0"/>
        </a:p>
      </dgm:t>
    </dgm:pt>
    <dgm:pt modelId="{4521F722-94BA-4C2B-B2BE-FFCF39CCF958}" type="parTrans" cxnId="{C4432E83-58E1-4934-BCE5-2956071F55C7}">
      <dgm:prSet/>
      <dgm:spPr/>
      <dgm:t>
        <a:bodyPr/>
        <a:lstStyle/>
        <a:p>
          <a:endParaRPr lang="nb-NO"/>
        </a:p>
      </dgm:t>
    </dgm:pt>
    <dgm:pt modelId="{5CCA293B-49FC-4651-A27E-D25C201B2BF0}" type="sibTrans" cxnId="{C4432E83-58E1-4934-BCE5-2956071F55C7}">
      <dgm:prSet/>
      <dgm:spPr/>
      <dgm:t>
        <a:bodyPr/>
        <a:lstStyle/>
        <a:p>
          <a:endParaRPr lang="nb-NO"/>
        </a:p>
      </dgm:t>
    </dgm:pt>
    <dgm:pt modelId="{DEE5ACA7-5960-427C-8058-42A9873E7DCD}">
      <dgm:prSet phldrT="[Tekst]" custT="1"/>
      <dgm:spPr/>
      <dgm:t>
        <a:bodyPr/>
        <a:lstStyle/>
        <a:p>
          <a:r>
            <a:rPr lang="nb-NO" sz="1000" b="1" dirty="0" smtClean="0"/>
            <a:t>Barn: IBS – irritable </a:t>
          </a:r>
          <a:r>
            <a:rPr lang="nb-NO" sz="1000" b="1" dirty="0" err="1" smtClean="0"/>
            <a:t>bowel</a:t>
          </a:r>
          <a:r>
            <a:rPr lang="nb-NO" sz="1000" b="1" dirty="0" smtClean="0"/>
            <a:t> syndrom</a:t>
          </a:r>
          <a:endParaRPr lang="nb-NO" sz="1000" b="1" dirty="0"/>
        </a:p>
      </dgm:t>
    </dgm:pt>
    <dgm:pt modelId="{31AA0402-284F-48AE-AFF7-B5F2413D30C3}" type="parTrans" cxnId="{5C001521-B04C-4B24-AEE6-AD3918DF5FBF}">
      <dgm:prSet/>
      <dgm:spPr/>
      <dgm:t>
        <a:bodyPr/>
        <a:lstStyle/>
        <a:p>
          <a:endParaRPr lang="nb-NO"/>
        </a:p>
      </dgm:t>
    </dgm:pt>
    <dgm:pt modelId="{02EF805C-AFB6-41A3-A4B7-CC57C5224489}" type="sibTrans" cxnId="{5C001521-B04C-4B24-AEE6-AD3918DF5FBF}">
      <dgm:prSet/>
      <dgm:spPr/>
      <dgm:t>
        <a:bodyPr/>
        <a:lstStyle/>
        <a:p>
          <a:endParaRPr lang="nb-NO"/>
        </a:p>
      </dgm:t>
    </dgm:pt>
    <dgm:pt modelId="{7C489A3A-00F0-4517-B94A-0F42F75C1DAB}">
      <dgm:prSet phldrT="[Tekst]" custT="1"/>
      <dgm:spPr/>
      <dgm:t>
        <a:bodyPr/>
        <a:lstStyle/>
        <a:p>
          <a:r>
            <a:rPr lang="nb-NO" sz="1000" b="1" dirty="0" smtClean="0"/>
            <a:t>Barn: Astma</a:t>
          </a:r>
          <a:endParaRPr lang="nb-NO" sz="1000" b="1" dirty="0"/>
        </a:p>
      </dgm:t>
    </dgm:pt>
    <dgm:pt modelId="{8E94F51E-7740-4E4A-A72C-9DE278850186}" type="parTrans" cxnId="{00855634-7301-4115-B135-A1187E849DD6}">
      <dgm:prSet/>
      <dgm:spPr/>
      <dgm:t>
        <a:bodyPr/>
        <a:lstStyle/>
        <a:p>
          <a:endParaRPr lang="nb-NO"/>
        </a:p>
      </dgm:t>
    </dgm:pt>
    <dgm:pt modelId="{8A515314-E5C3-4A10-9500-D1FA50E738C1}" type="sibTrans" cxnId="{00855634-7301-4115-B135-A1187E849DD6}">
      <dgm:prSet/>
      <dgm:spPr/>
      <dgm:t>
        <a:bodyPr/>
        <a:lstStyle/>
        <a:p>
          <a:endParaRPr lang="nb-NO"/>
        </a:p>
      </dgm:t>
    </dgm:pt>
    <dgm:pt modelId="{99759FF4-0934-416D-8452-6463BBD549B7}">
      <dgm:prSet phldrT="[Tekst]" custT="1"/>
      <dgm:spPr/>
      <dgm:t>
        <a:bodyPr/>
        <a:lstStyle/>
        <a:p>
          <a:r>
            <a:rPr lang="nb-NO" sz="1000" b="1" dirty="0" smtClean="0"/>
            <a:t>Revmatoid artritt </a:t>
          </a:r>
          <a:endParaRPr lang="nb-NO" sz="1000" b="1" dirty="0"/>
        </a:p>
      </dgm:t>
    </dgm:pt>
    <dgm:pt modelId="{8ADEA163-CC37-4E56-ACF7-6044411411F5}" type="parTrans" cxnId="{428863E5-D065-4AE5-BA5F-878831C81F92}">
      <dgm:prSet/>
      <dgm:spPr/>
      <dgm:t>
        <a:bodyPr/>
        <a:lstStyle/>
        <a:p>
          <a:endParaRPr lang="nb-NO"/>
        </a:p>
      </dgm:t>
    </dgm:pt>
    <dgm:pt modelId="{71E1B5D0-6DA9-4D72-B6DC-C4A1B0C4CD6E}" type="sibTrans" cxnId="{428863E5-D065-4AE5-BA5F-878831C81F92}">
      <dgm:prSet/>
      <dgm:spPr/>
      <dgm:t>
        <a:bodyPr/>
        <a:lstStyle/>
        <a:p>
          <a:endParaRPr lang="nb-NO"/>
        </a:p>
      </dgm:t>
    </dgm:pt>
    <dgm:pt modelId="{96D771E5-761A-4D61-89D5-5EBBA76F6E13}">
      <dgm:prSet phldrT="[Tekst]" custT="1"/>
      <dgm:spPr/>
      <dgm:t>
        <a:bodyPr/>
        <a:lstStyle/>
        <a:p>
          <a:r>
            <a:rPr lang="nb-NO" sz="1000" b="1" dirty="0" smtClean="0"/>
            <a:t>ADHD/ADD</a:t>
          </a:r>
          <a:endParaRPr lang="nb-NO" sz="1000" b="1" dirty="0"/>
        </a:p>
      </dgm:t>
    </dgm:pt>
    <dgm:pt modelId="{63420385-332E-458F-BEA5-C80D6305843C}" type="parTrans" cxnId="{91F12E68-BB64-4589-85CB-2D22D321FC9F}">
      <dgm:prSet/>
      <dgm:spPr/>
      <dgm:t>
        <a:bodyPr/>
        <a:lstStyle/>
        <a:p>
          <a:endParaRPr lang="nb-NO"/>
        </a:p>
      </dgm:t>
    </dgm:pt>
    <dgm:pt modelId="{F07C3BDE-070F-4468-B3E9-67E736837E3C}" type="sibTrans" cxnId="{91F12E68-BB64-4589-85CB-2D22D321FC9F}">
      <dgm:prSet/>
      <dgm:spPr/>
      <dgm:t>
        <a:bodyPr/>
        <a:lstStyle/>
        <a:p>
          <a:endParaRPr lang="nb-NO"/>
        </a:p>
      </dgm:t>
    </dgm:pt>
    <dgm:pt modelId="{E008CA36-5275-4711-9BD3-7929C31960B3}">
      <dgm:prSet phldrT="[Tekst]" custT="1"/>
      <dgm:spPr/>
      <dgm:t>
        <a:bodyPr/>
        <a:lstStyle/>
        <a:p>
          <a:r>
            <a:rPr lang="nb-NO" sz="1000" b="1" dirty="0" err="1" smtClean="0"/>
            <a:t>Asperger</a:t>
          </a:r>
          <a:r>
            <a:rPr lang="nb-NO" sz="1000" b="1" dirty="0" smtClean="0"/>
            <a:t> syndrom </a:t>
          </a:r>
          <a:endParaRPr lang="nb-NO" sz="1000" b="1" dirty="0"/>
        </a:p>
      </dgm:t>
    </dgm:pt>
    <dgm:pt modelId="{EDAF741A-D632-4FA1-8C6D-5B8E42252CDA}" type="parTrans" cxnId="{B47984DD-25F3-4D80-A956-A3AAFC5DE7CC}">
      <dgm:prSet/>
      <dgm:spPr/>
      <dgm:t>
        <a:bodyPr/>
        <a:lstStyle/>
        <a:p>
          <a:endParaRPr lang="nb-NO"/>
        </a:p>
      </dgm:t>
    </dgm:pt>
    <dgm:pt modelId="{1B3F14F2-845F-4258-AE61-08A72D82C92E}" type="sibTrans" cxnId="{B47984DD-25F3-4D80-A956-A3AAFC5DE7CC}">
      <dgm:prSet/>
      <dgm:spPr/>
      <dgm:t>
        <a:bodyPr/>
        <a:lstStyle/>
        <a:p>
          <a:endParaRPr lang="nb-NO"/>
        </a:p>
      </dgm:t>
    </dgm:pt>
    <dgm:pt modelId="{12085041-6181-49EC-B9A1-07E0EA6CB12C}">
      <dgm:prSet phldrT="[Tekst]" custT="1"/>
      <dgm:spPr/>
      <dgm:t>
        <a:bodyPr/>
        <a:lstStyle/>
        <a:p>
          <a:r>
            <a:rPr lang="nb-NO" sz="1000" b="1" dirty="0" smtClean="0"/>
            <a:t>De utrolige årene </a:t>
          </a:r>
          <a:endParaRPr lang="nb-NO" sz="1000" b="1" dirty="0"/>
        </a:p>
      </dgm:t>
    </dgm:pt>
    <dgm:pt modelId="{4EADD9FF-F08A-4B3B-A7BA-F63C28A66E80}" type="parTrans" cxnId="{490B458F-630D-4DCD-9D75-E62E570A1408}">
      <dgm:prSet/>
      <dgm:spPr/>
      <dgm:t>
        <a:bodyPr/>
        <a:lstStyle/>
        <a:p>
          <a:endParaRPr lang="nb-NO"/>
        </a:p>
      </dgm:t>
    </dgm:pt>
    <dgm:pt modelId="{8654221E-423B-4BE0-A217-45F075F02ECA}" type="sibTrans" cxnId="{490B458F-630D-4DCD-9D75-E62E570A1408}">
      <dgm:prSet/>
      <dgm:spPr/>
      <dgm:t>
        <a:bodyPr/>
        <a:lstStyle/>
        <a:p>
          <a:endParaRPr lang="nb-NO"/>
        </a:p>
      </dgm:t>
    </dgm:pt>
    <dgm:pt modelId="{0757B4E6-ECF6-4044-942B-F1995C48C9DB}">
      <dgm:prSet phldrT="[Tekst]" custT="1"/>
      <dgm:spPr/>
      <dgm:t>
        <a:bodyPr/>
        <a:lstStyle/>
        <a:p>
          <a:r>
            <a:rPr lang="nb-NO" sz="1000" b="1" dirty="0" smtClean="0"/>
            <a:t>Autisme</a:t>
          </a:r>
          <a:endParaRPr lang="nb-NO" sz="1000" b="1" dirty="0"/>
        </a:p>
      </dgm:t>
    </dgm:pt>
    <dgm:pt modelId="{4D99EC70-8B75-4E4B-BD2E-3ABFC055B112}" type="parTrans" cxnId="{DEC9DC28-ED4D-4F91-907A-CEA63ED3E2D2}">
      <dgm:prSet/>
      <dgm:spPr/>
      <dgm:t>
        <a:bodyPr/>
        <a:lstStyle/>
        <a:p>
          <a:endParaRPr lang="nb-NO"/>
        </a:p>
      </dgm:t>
    </dgm:pt>
    <dgm:pt modelId="{6C2FF08F-C722-4614-B821-F455031C5056}" type="sibTrans" cxnId="{DEC9DC28-ED4D-4F91-907A-CEA63ED3E2D2}">
      <dgm:prSet/>
      <dgm:spPr/>
      <dgm:t>
        <a:bodyPr/>
        <a:lstStyle/>
        <a:p>
          <a:endParaRPr lang="nb-NO"/>
        </a:p>
      </dgm:t>
    </dgm:pt>
    <dgm:pt modelId="{C747E3EF-2BCB-417F-A53A-0A8B2AD7B788}">
      <dgm:prSet phldrT="[Tekst]" custT="1"/>
      <dgm:spPr/>
      <dgm:t>
        <a:bodyPr/>
        <a:lstStyle/>
        <a:p>
          <a:r>
            <a:rPr lang="nb-NO" sz="1000" b="1" dirty="0" smtClean="0"/>
            <a:t>Prematuritet</a:t>
          </a:r>
          <a:endParaRPr lang="nb-NO" sz="1000" b="1" dirty="0"/>
        </a:p>
      </dgm:t>
    </dgm:pt>
    <dgm:pt modelId="{F5583FF2-1490-4DEC-9B2A-D426D3BA2412}" type="parTrans" cxnId="{854EC970-9B86-4618-B54D-896C14B30AF4}">
      <dgm:prSet/>
      <dgm:spPr/>
      <dgm:t>
        <a:bodyPr/>
        <a:lstStyle/>
        <a:p>
          <a:endParaRPr lang="nb-NO"/>
        </a:p>
      </dgm:t>
    </dgm:pt>
    <dgm:pt modelId="{487120E8-E52E-419E-97F0-5D16D3204752}" type="sibTrans" cxnId="{854EC970-9B86-4618-B54D-896C14B30AF4}">
      <dgm:prSet/>
      <dgm:spPr/>
      <dgm:t>
        <a:bodyPr/>
        <a:lstStyle/>
        <a:p>
          <a:endParaRPr lang="nb-NO"/>
        </a:p>
      </dgm:t>
    </dgm:pt>
    <dgm:pt modelId="{AF14D89E-D427-4C93-A558-77D983342835}">
      <dgm:prSet phldrT="[Tekst]" custT="1"/>
      <dgm:spPr/>
      <dgm:t>
        <a:bodyPr/>
        <a:lstStyle/>
        <a:p>
          <a:r>
            <a:rPr lang="nb-NO" sz="1000" b="1" dirty="0" smtClean="0"/>
            <a:t>Barn: diabetes</a:t>
          </a:r>
          <a:endParaRPr lang="nb-NO" sz="1000" b="1" dirty="0"/>
        </a:p>
      </dgm:t>
    </dgm:pt>
    <dgm:pt modelId="{F9476E74-4E38-4517-81D7-E1E295A9202B}" type="parTrans" cxnId="{C5B411ED-EB25-4DFE-BA5B-75F8ED543FD8}">
      <dgm:prSet/>
      <dgm:spPr/>
      <dgm:t>
        <a:bodyPr/>
        <a:lstStyle/>
        <a:p>
          <a:endParaRPr lang="nb-NO"/>
        </a:p>
      </dgm:t>
    </dgm:pt>
    <dgm:pt modelId="{BF66627A-E4C9-4C39-8CC0-CD75A3D98BAA}" type="sibTrans" cxnId="{C5B411ED-EB25-4DFE-BA5B-75F8ED543FD8}">
      <dgm:prSet/>
      <dgm:spPr/>
      <dgm:t>
        <a:bodyPr/>
        <a:lstStyle/>
        <a:p>
          <a:endParaRPr lang="nb-NO"/>
        </a:p>
      </dgm:t>
    </dgm:pt>
    <dgm:pt modelId="{12BEF343-B126-47A9-9DB7-8FF21EED2C2D}">
      <dgm:prSet phldrT="[Tekst]" custT="1"/>
      <dgm:spPr/>
      <dgm:t>
        <a:bodyPr/>
        <a:lstStyle/>
        <a:p>
          <a:r>
            <a:rPr lang="nb-NO" sz="1000" b="1" dirty="0" smtClean="0"/>
            <a:t>Barn: IBM</a:t>
          </a:r>
          <a:endParaRPr lang="nb-NO" sz="1000" b="1" dirty="0"/>
        </a:p>
      </dgm:t>
    </dgm:pt>
    <dgm:pt modelId="{2B70273E-7077-49BE-BC58-C0C01BBED0E1}" type="parTrans" cxnId="{89769207-1066-4977-B0C3-B7CF3957A7F8}">
      <dgm:prSet/>
      <dgm:spPr/>
      <dgm:t>
        <a:bodyPr/>
        <a:lstStyle/>
        <a:p>
          <a:endParaRPr lang="nb-NO"/>
        </a:p>
      </dgm:t>
    </dgm:pt>
    <dgm:pt modelId="{34F3EC1F-572B-4C54-B32F-4B120715411D}" type="sibTrans" cxnId="{89769207-1066-4977-B0C3-B7CF3957A7F8}">
      <dgm:prSet/>
      <dgm:spPr/>
      <dgm:t>
        <a:bodyPr/>
        <a:lstStyle/>
        <a:p>
          <a:endParaRPr lang="nb-NO"/>
        </a:p>
      </dgm:t>
    </dgm:pt>
    <dgm:pt modelId="{678CE2F9-BF53-479D-ACA1-8044FF13CCC0}">
      <dgm:prSet phldrT="[Tekst]" custT="1"/>
      <dgm:spPr/>
      <dgm:t>
        <a:bodyPr/>
        <a:lstStyle/>
        <a:p>
          <a:r>
            <a:rPr lang="nb-NO" sz="1000" b="1" dirty="0" smtClean="0"/>
            <a:t>Smerte </a:t>
          </a:r>
          <a:r>
            <a:rPr lang="nb-NO" sz="1000" b="1" dirty="0" err="1" smtClean="0"/>
            <a:t>rehab</a:t>
          </a:r>
          <a:endParaRPr lang="nb-NO" sz="1000" b="1" dirty="0"/>
        </a:p>
      </dgm:t>
    </dgm:pt>
    <dgm:pt modelId="{F7AE2359-5006-49EB-A2D8-94CDE5C603F1}" type="parTrans" cxnId="{3CE8BEF3-B863-493D-9784-BBF7EBAC846A}">
      <dgm:prSet/>
      <dgm:spPr/>
      <dgm:t>
        <a:bodyPr/>
        <a:lstStyle/>
        <a:p>
          <a:endParaRPr lang="nb-NO"/>
        </a:p>
      </dgm:t>
    </dgm:pt>
    <dgm:pt modelId="{E52ACA22-3C9D-4BEF-A96A-08DD9FEAFD8E}" type="sibTrans" cxnId="{3CE8BEF3-B863-493D-9784-BBF7EBAC846A}">
      <dgm:prSet/>
      <dgm:spPr/>
      <dgm:t>
        <a:bodyPr/>
        <a:lstStyle/>
        <a:p>
          <a:endParaRPr lang="nb-NO"/>
        </a:p>
      </dgm:t>
    </dgm:pt>
    <dgm:pt modelId="{659FF624-14C0-457C-B329-056D8038A986}" type="pres">
      <dgm:prSet presAssocID="{0ACFC98C-97A2-4877-A79D-0A203BAE183F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nb-NO"/>
        </a:p>
      </dgm:t>
    </dgm:pt>
    <dgm:pt modelId="{D61C42D5-04B7-4BB6-9E28-97DD129FAC7E}" type="pres">
      <dgm:prSet presAssocID="{0ACFC98C-97A2-4877-A79D-0A203BAE183F}" presName="radial" presStyleCnt="0">
        <dgm:presLayoutVars>
          <dgm:animLvl val="ctr"/>
        </dgm:presLayoutVars>
      </dgm:prSet>
      <dgm:spPr/>
    </dgm:pt>
    <dgm:pt modelId="{80ADC472-5778-41A3-9CBB-22FBF6A66492}" type="pres">
      <dgm:prSet presAssocID="{684A3659-C16B-4FC4-90C0-A28F4C22EDA5}" presName="centerShape" presStyleLbl="vennNode1" presStyleIdx="0" presStyleCnt="47" custScaleX="463308" custScaleY="443063" custLinFactNeighborX="5337" custLinFactNeighborY="-3882"/>
      <dgm:spPr/>
      <dgm:t>
        <a:bodyPr/>
        <a:lstStyle/>
        <a:p>
          <a:endParaRPr lang="nb-NO"/>
        </a:p>
      </dgm:t>
    </dgm:pt>
    <dgm:pt modelId="{82A7BEF3-55E3-4F46-ADF8-F4AC9B28E654}" type="pres">
      <dgm:prSet presAssocID="{0722DAC6-AC62-4F97-A8E6-9C6A7C4AF242}" presName="node" presStyleLbl="vennNode1" presStyleIdx="1" presStyleCnt="47" custScaleX="140917" custScaleY="318008" custRadScaleRad="91834" custRadScaleInc="20900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0E1AF70-BB5C-4693-A276-714D5123CB5E}" type="pres">
      <dgm:prSet presAssocID="{C5D7EE84-BD1B-4247-84D1-BE03F8210ED3}" presName="node" presStyleLbl="vennNode1" presStyleIdx="2" presStyleCnt="47" custScaleX="134679" custScaleY="366776" custRadScaleRad="97421" custRadScaleInc="43830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ECAEA2FF-EB18-4C59-A774-DCC50F9F9F00}" type="pres">
      <dgm:prSet presAssocID="{ED007044-93CE-4086-8FFC-8452A4AC9D02}" presName="node" presStyleLbl="vennNode1" presStyleIdx="3" presStyleCnt="47" custAng="18196850" custScaleX="368726" custRadScaleRad="100436" custRadScaleInc="68934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52B0A3DC-3A7D-44B2-BD9E-C220BA3878AD}" type="pres">
      <dgm:prSet presAssocID="{BEE2231A-E653-4E7C-AA39-40903082F07E}" presName="node" presStyleLbl="vennNode1" presStyleIdx="4" presStyleCnt="47" custAng="18708949" custScaleX="372967" custScaleY="106803" custRadScaleRad="102743" custRadScaleInc="83092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692D1B14-3110-47C7-86B1-9275512432A4}" type="pres">
      <dgm:prSet presAssocID="{D192367F-9ED3-4449-B3DE-45CF8BADA7B7}" presName="node" presStyleLbl="vennNode1" presStyleIdx="5" presStyleCnt="47" custAng="19407578" custScaleX="381535" custScaleY="94719" custRadScaleRad="106933" custRadScaleInc="94020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7B41DDF6-4E6E-4FB7-8B3F-35181963D509}" type="pres">
      <dgm:prSet presAssocID="{C37B1DEA-4521-4890-B072-47728A22AD47}" presName="node" presStyleLbl="vennNode1" presStyleIdx="6" presStyleCnt="47" custAng="19733857" custScaleX="235486" custScaleY="86326" custRadScaleRad="101106" custRadScaleInc="9160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394967EA-F0BE-408E-B1FF-661A9F6C6EFD}" type="pres">
      <dgm:prSet presAssocID="{678CE2F9-BF53-479D-ACA1-8044FF13CCC0}" presName="node" presStyleLbl="vennNode1" presStyleIdx="7" presStyleCnt="47" custAng="20145049" custScaleX="382994" custRadScaleRad="113590" custRadScaleInc="107019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B4227AB9-2AD5-4D86-BC4F-74ACE9AB91F5}" type="pres">
      <dgm:prSet presAssocID="{AF14D89E-D427-4C93-A558-77D983342835}" presName="node" presStyleLbl="vennNode1" presStyleIdx="8" presStyleCnt="47" custAng="20175859" custScaleX="410243" custRadScaleRad="112739" custRadScaleInc="95759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EE51203-5D2A-4C58-A136-C8511EBD86CC}" type="pres">
      <dgm:prSet presAssocID="{504B1F59-A9B6-4B9F-AAF9-6FD778B00849}" presName="node" presStyleLbl="vennNode1" presStyleIdx="9" presStyleCnt="47" custAng="20203737" custScaleX="523796" custScaleY="133947" custRadScaleRad="125216" custRadScaleInc="93507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0EC7CF5E-26B2-4758-829B-7259D20F946E}" type="pres">
      <dgm:prSet presAssocID="{5231FD09-1948-46B8-81D2-C2C83548096A}" presName="node" presStyleLbl="vennNode1" presStyleIdx="10" presStyleCnt="47" custAng="20686869" custScaleX="520541" custScaleY="139981" custRadScaleRad="122594" custRadScaleInc="96021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6AEF1381-053A-40B7-A728-73BE17EEEC00}" type="pres">
      <dgm:prSet presAssocID="{12BEF343-B126-47A9-9DB7-8FF21EED2C2D}" presName="node" presStyleLbl="vennNode1" presStyleIdx="11" presStyleCnt="47" custAng="21046346" custScaleX="527063" custRadScaleRad="122540" custRadScaleInc="7886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3B0E3E3-3A9F-4A2A-B338-B1F5E0360EE4}" type="pres">
      <dgm:prSet presAssocID="{D629327A-BBA4-4B39-A503-D06250BA8307}" presName="node" presStyleLbl="vennNode1" presStyleIdx="12" presStyleCnt="47" custAng="21261566" custScaleX="500203" custScaleY="83834" custRadScaleRad="122141" custRadScaleInc="63047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5D6523B0-6A48-45D9-8AD2-E88DD73A7AB2}" type="pres">
      <dgm:prSet presAssocID="{5D782802-9402-46A9-94DD-C5B7FE44DD38}" presName="node" presStyleLbl="vennNode1" presStyleIdx="13" presStyleCnt="47" custScaleX="591472" custRadScaleRad="129582" custRadScaleInc="4166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B87D26D0-0EED-4369-B006-296832C578A3}" type="pres">
      <dgm:prSet presAssocID="{3196DD19-1896-4D28-BD67-B0863E7DCD89}" presName="node" presStyleLbl="vennNode1" presStyleIdx="14" presStyleCnt="47" custScaleX="573828" custRadScaleRad="127591" custRadScaleInc="3954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778CBD5D-CCA5-490B-BCBD-8ECBE3D06FDE}" type="pres">
      <dgm:prSet presAssocID="{D6865F87-8B28-4A41-B873-C5645D73D7B2}" presName="node" presStyleLbl="vennNode1" presStyleIdx="15" presStyleCnt="47" custScaleX="608124" custScaleY="104965" custRadScaleRad="122051" custRadScaleInc="-1370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95BB4986-CBEA-4367-A54F-F2EF252D0402}" type="pres">
      <dgm:prSet presAssocID="{88BA2C43-8785-43D1-A528-692DBCDC4C15}" presName="node" presStyleLbl="vennNode1" presStyleIdx="16" presStyleCnt="47" custScaleX="542694" custScaleY="77715" custRadScaleRad="121205" custRadScaleInc="-47478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54CA3B0E-151B-47CF-9534-03B4D8B4E117}" type="pres">
      <dgm:prSet presAssocID="{0CCFF6B5-C911-4EDA-872D-38379FA0EC01}" presName="node" presStyleLbl="vennNode1" presStyleIdx="17" presStyleCnt="47" custAng="473750" custScaleX="453300" custRadScaleRad="117928" custRadScaleInc="-5671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BBF31471-3CD4-4563-9EDE-05B0F358A5DA}" type="pres">
      <dgm:prSet presAssocID="{6F093447-2D8A-4FE2-9AA6-E5EA66AF5585}" presName="node" presStyleLbl="vennNode1" presStyleIdx="18" presStyleCnt="47" custAng="1313684" custScaleX="489686" custRadScaleRad="119126" custRadScaleInc="-94351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74566187-58D7-4D8D-8BB4-520750DB166D}" type="pres">
      <dgm:prSet presAssocID="{5F94EF3A-C01A-45F0-ACB2-65C4BC9CF602}" presName="node" presStyleLbl="vennNode1" presStyleIdx="19" presStyleCnt="47" custAng="1733427" custScaleX="488558" custRadScaleRad="114018" custRadScaleInc="-10251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565CFA98-EDFA-42FD-B821-3E5674644356}" type="pres">
      <dgm:prSet presAssocID="{5E9624D8-D6CE-4627-95D3-971D2EDB5F5E}" presName="node" presStyleLbl="vennNode1" presStyleIdx="20" presStyleCnt="47" custAng="1587182" custScaleX="412848" custRadScaleRad="108741" custRadScaleInc="-13674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9B4C0548-5417-404F-9FA0-F4085EA89E66}" type="pres">
      <dgm:prSet presAssocID="{C4599465-EB79-48D6-B862-8866977F8495}" presName="node" presStyleLbl="vennNode1" presStyleIdx="21" presStyleCnt="47" custAng="1861698" custScaleX="289910" custScaleY="64852" custRadScaleRad="95715" custRadScaleInc="-151049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E2F1C84B-E117-425E-8EF8-7F0056ECE0AC}" type="pres">
      <dgm:prSet presAssocID="{F0D0BA15-FE4D-4EB9-A82D-79D4296101B6}" presName="node" presStyleLbl="vennNode1" presStyleIdx="22" presStyleCnt="47" custAng="1884352" custScaleX="402290" custScaleY="51468" custRadScaleRad="99001" custRadScaleInc="-209168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7FEAB518-E4DE-488E-904C-2B3AAF7C9A0E}" type="pres">
      <dgm:prSet presAssocID="{7670F503-C63E-457E-B87A-D19017CED3C0}" presName="node" presStyleLbl="vennNode1" presStyleIdx="23" presStyleCnt="47" custAng="3329651" custScaleX="173687" custScaleY="107416" custRadScaleRad="84188" custRadScaleInc="-68799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809D534D-C9D5-4502-8663-DF53AD809978}" type="pres">
      <dgm:prSet presAssocID="{24405BD5-4712-4CE0-ACA6-6306F421A5DA}" presName="node" presStyleLbl="vennNode1" presStyleIdx="24" presStyleCnt="47" custAng="18260645" custScaleX="241628" custScaleY="96850" custRadScaleRad="82519" custRadScaleInc="19113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9F813910-02D8-46BB-B013-4E1E1B0FAF9C}" type="pres">
      <dgm:prSet presAssocID="{04ACD49C-5063-41BF-97D8-D604F754405E}" presName="node" presStyleLbl="vennNode1" presStyleIdx="25" presStyleCnt="47" custAng="2234553" custScaleX="367930" custScaleY="113932" custRadScaleRad="98868" custRadScaleInc="-441562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B4C6B50C-9B3E-44CF-93E4-6AF815B6A993}" type="pres">
      <dgm:prSet presAssocID="{DEE5ACA7-5960-427C-8058-42A9873E7DCD}" presName="node" presStyleLbl="vennNode1" presStyleIdx="26" presStyleCnt="47" custAng="17204397" custScaleX="264626" custScaleY="130150" custRadScaleRad="83926" custRadScaleInc="-186191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7B54669E-C5F2-4AD1-A27C-341D889B56AF}" type="pres">
      <dgm:prSet presAssocID="{FE89201D-F888-45A7-8528-65A983AEB2D0}" presName="node" presStyleLbl="vennNode1" presStyleIdx="27" presStyleCnt="47" custAng="19177069" custScaleX="372626" custScaleY="69143" custRadScaleRad="88061" custRadScaleInc="211261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817E8A14-5281-4840-A0EA-4D690F75A419}" type="pres">
      <dgm:prSet presAssocID="{84711B06-4B30-40ED-8BC4-6917353F0AC0}" presName="node" presStyleLbl="vennNode1" presStyleIdx="28" presStyleCnt="47" custAng="18710135" custScaleX="216289" custScaleY="55005" custRadScaleRad="81357" custRadScaleInc="-97950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A77B030-66AC-4A47-8A4F-FDBA06E89660}" type="pres">
      <dgm:prSet presAssocID="{7C489A3A-00F0-4517-B94A-0F42F75C1DAB}" presName="node" presStyleLbl="vennNode1" presStyleIdx="29" presStyleCnt="47" custAng="19076481" custScaleX="278746" custScaleY="78807" custRadScaleRad="85897" custRadScaleInc="-92552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397B2F7C-2748-4958-A655-A0351C0432DA}" type="pres">
      <dgm:prSet presAssocID="{F5B5DFC6-EEDA-4246-B945-07308CFBFCC5}" presName="node" presStyleLbl="vennNode1" presStyleIdx="30" presStyleCnt="47" custAng="19886414" custScaleX="453821" custScaleY="71607" custRadScaleRad="89400" custRadScaleInc="6685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B25E49EA-0D78-4746-B12A-7766D2853F4A}" type="pres">
      <dgm:prSet presAssocID="{A80541ED-E426-4ECE-AC75-A0ED23E1F8F4}" presName="node" presStyleLbl="vennNode1" presStyleIdx="31" presStyleCnt="47" custAng="20002953" custScaleX="551814" custScaleY="77076" custRadScaleRad="101345" custRadScaleInc="5430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33543456-24C9-4B75-8F78-9F285862A208}" type="pres">
      <dgm:prSet presAssocID="{6AFA3B54-664E-4367-A4A1-072775B76B41}" presName="node" presStyleLbl="vennNode1" presStyleIdx="32" presStyleCnt="47" custAng="19925736" custScaleX="541393" custRadScaleRad="98568" custRadScaleInc="-7142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38D7FF6F-970E-42F0-9087-E392FBF0646A}" type="pres">
      <dgm:prSet presAssocID="{F35F8397-AF87-4A65-9B2E-81386F2B0021}" presName="node" presStyleLbl="vennNode1" presStyleIdx="33" presStyleCnt="47" custAng="20231428" custScaleX="518744" custRadScaleRad="99001" custRadScaleInc="-22699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628B43E3-A5FC-4B4E-AEA0-A88CCEEA98C7}" type="pres">
      <dgm:prSet presAssocID="{97CE49AA-6B5B-4C05-A547-69E131534C53}" presName="node" presStyleLbl="vennNode1" presStyleIdx="34" presStyleCnt="47" custAng="20655660" custScaleX="512212" custRadScaleRad="100954" custRadScaleInc="-46388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FB3AFFD-1988-48E7-A3CB-EB0327EAF83E}" type="pres">
      <dgm:prSet presAssocID="{D5F48018-F2D8-4AD5-B88D-3346E7A2DF87}" presName="node" presStyleLbl="vennNode1" presStyleIdx="35" presStyleCnt="47" custAng="20783396" custScaleX="509884" custRadScaleRad="105404" custRadScaleInc="-6460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0399B9A-DD22-44E2-A463-B8E3EECF37B1}" type="pres">
      <dgm:prSet presAssocID="{68C1F8D3-6B2E-4020-8863-0CD2274190AD}" presName="node" presStyleLbl="vennNode1" presStyleIdx="36" presStyleCnt="47" custAng="20911367" custScaleX="543734" custRadScaleRad="105865" custRadScaleInc="-71829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7EF6C888-262F-46DB-833F-C4C44761D17A}" type="pres">
      <dgm:prSet presAssocID="{31E9C24C-6875-41C3-957C-7D3413161056}" presName="node" presStyleLbl="vennNode1" presStyleIdx="37" presStyleCnt="47" custScaleX="640430" custRadScaleRad="111014" custRadScaleInc="-7284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AA7B1C7-3EE1-4FAE-A48E-CB388A7F5C79}" type="pres">
      <dgm:prSet presAssocID="{131E7FFA-894D-48E9-8173-A8AA4F251E37}" presName="node" presStyleLbl="vennNode1" presStyleIdx="38" presStyleCnt="47" custScaleX="622674" custRadScaleRad="109656" custRadScaleInc="-81520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559363E-1A7B-4E40-BF5A-081647FED127}" type="pres">
      <dgm:prSet presAssocID="{7314E971-D0D1-4850-AC94-15B978AFA4C5}" presName="node" presStyleLbl="vennNode1" presStyleIdx="39" presStyleCnt="47" custAng="850151" custScaleX="644908" custScaleY="133143" custRadScaleRad="113096" custRadScaleInc="-8572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D727AF04-8903-4EE0-B8B6-300814D9B92E}" type="pres">
      <dgm:prSet presAssocID="{478B9072-E20B-4A40-8918-AF5AD2174F13}" presName="node" presStyleLbl="vennNode1" presStyleIdx="40" presStyleCnt="47" custAng="748579" custScaleX="619382" custRadScaleRad="109063" custRadScaleInc="-93817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040EADA5-5F63-4F1D-BF6D-3BE7F78E3D63}" type="pres">
      <dgm:prSet presAssocID="{99759FF4-0934-416D-8452-6463BBD549B7}" presName="node" presStyleLbl="vennNode1" presStyleIdx="41" presStyleCnt="47" custAng="1536374" custScaleX="582083" custRadScaleRad="108335" custRadScaleInc="-10290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3F9AFC8F-635F-4546-9C6C-8C9292D7F846}" type="pres">
      <dgm:prSet presAssocID="{96D771E5-761A-4D61-89D5-5EBBA76F6E13}" presName="node" presStyleLbl="vennNode1" presStyleIdx="42" presStyleCnt="47" custAng="1569468" custScaleX="425400" custRadScaleRad="97747" custRadScaleInc="-88219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32E0981-22E5-4B83-9816-1049E31598D1}" type="pres">
      <dgm:prSet presAssocID="{E008CA36-5275-4711-9BD3-7929C31960B3}" presName="node" presStyleLbl="vennNode1" presStyleIdx="43" presStyleCnt="47" custAng="1734070" custScaleX="469497" custRadScaleRad="99905" custRadScaleInc="-98017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0DDC8712-617D-4CDE-B271-8E0ED2A97FD3}" type="pres">
      <dgm:prSet presAssocID="{12085041-6181-49EC-B9A1-07E0EA6CB12C}" presName="node" presStyleLbl="vennNode1" presStyleIdx="44" presStyleCnt="47" custAng="2362434" custScaleX="388414" custRadScaleRad="91387" custRadScaleInc="-8060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96755A41-C44F-48A7-BB1B-7166979A6280}" type="pres">
      <dgm:prSet presAssocID="{0757B4E6-ECF6-4044-942B-F1995C48C9DB}" presName="node" presStyleLbl="vennNode1" presStyleIdx="45" presStyleCnt="47" custAng="2204717" custScaleX="404654" custRadScaleRad="93693" custRadScaleInc="-7571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C9C77559-CC4B-4CFC-A771-37A6597AA28D}" type="pres">
      <dgm:prSet presAssocID="{C747E3EF-2BCB-417F-A53A-0A8B2AD7B788}" presName="node" presStyleLbl="vennNode1" presStyleIdx="46" presStyleCnt="47" custAng="2759757" custScaleX="378209" custScaleY="111348" custRadScaleRad="89556" custRadScaleInc="-5210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E4B2508C-F366-4787-A1E5-2AA0458F7E3A}" srcId="{684A3659-C16B-4FC4-90C0-A28F4C22EDA5}" destId="{131E7FFA-894D-48E9-8173-A8AA4F251E37}" srcOrd="37" destOrd="0" parTransId="{1FDF06CB-00FA-46B7-BB2C-D56FE8DFC65C}" sibTransId="{CEB0E732-6817-4C7E-9CBC-69D4D997935C}"/>
    <dgm:cxn modelId="{7D3C2983-B3C2-4431-A04D-BECC4E12E8CB}" type="presOf" srcId="{C5D7EE84-BD1B-4247-84D1-BE03F8210ED3}" destId="{20E1AF70-BB5C-4693-A276-714D5123CB5E}" srcOrd="0" destOrd="0" presId="urn:microsoft.com/office/officeart/2005/8/layout/radial3"/>
    <dgm:cxn modelId="{A298D2FE-ABEA-4784-9241-45938D945228}" srcId="{684A3659-C16B-4FC4-90C0-A28F4C22EDA5}" destId="{504B1F59-A9B6-4B9F-AAF9-6FD778B00849}" srcOrd="8" destOrd="0" parTransId="{57176E91-C63B-44E5-8ED3-D2166E660A8C}" sibTransId="{2039B2F8-4FB2-4751-B794-BF498CD7EFCA}"/>
    <dgm:cxn modelId="{A0B99E24-0EDA-4B62-914F-16A69A664E73}" srcId="{684A3659-C16B-4FC4-90C0-A28F4C22EDA5}" destId="{5F94EF3A-C01A-45F0-ACB2-65C4BC9CF602}" srcOrd="18" destOrd="0" parTransId="{9C1DF7E1-81B7-46C0-A11F-23F319C8F9FD}" sibTransId="{850E46DE-E5B4-4F49-8E57-133F6492B522}"/>
    <dgm:cxn modelId="{57A4EA1E-69C7-473E-81C2-24D40D3BFB93}" type="presOf" srcId="{D6865F87-8B28-4A41-B873-C5645D73D7B2}" destId="{778CBD5D-CCA5-490B-BCBD-8ECBE3D06FDE}" srcOrd="0" destOrd="0" presId="urn:microsoft.com/office/officeart/2005/8/layout/radial3"/>
    <dgm:cxn modelId="{B45344D2-5F8A-4F2B-8C5E-89F81F4ED310}" type="presOf" srcId="{BEE2231A-E653-4E7C-AA39-40903082F07E}" destId="{52B0A3DC-3A7D-44B2-BD9E-C220BA3878AD}" srcOrd="0" destOrd="0" presId="urn:microsoft.com/office/officeart/2005/8/layout/radial3"/>
    <dgm:cxn modelId="{3FF4ECAE-3308-4BE4-A3CD-C12585AF1AB7}" type="presOf" srcId="{96D771E5-761A-4D61-89D5-5EBBA76F6E13}" destId="{3F9AFC8F-635F-4546-9C6C-8C9292D7F846}" srcOrd="0" destOrd="0" presId="urn:microsoft.com/office/officeart/2005/8/layout/radial3"/>
    <dgm:cxn modelId="{54D88EFF-21AE-4FFE-AA13-780ADEBFA049}" type="presOf" srcId="{0757B4E6-ECF6-4044-942B-F1995C48C9DB}" destId="{96755A41-C44F-48A7-BB1B-7166979A6280}" srcOrd="0" destOrd="0" presId="urn:microsoft.com/office/officeart/2005/8/layout/radial3"/>
    <dgm:cxn modelId="{2FFF21D8-F929-4986-A973-3C7966E9D986}" type="presOf" srcId="{6AFA3B54-664E-4367-A4A1-072775B76B41}" destId="{33543456-24C9-4B75-8F78-9F285862A208}" srcOrd="0" destOrd="0" presId="urn:microsoft.com/office/officeart/2005/8/layout/radial3"/>
    <dgm:cxn modelId="{2A8E514C-C3AD-47F0-83C5-A735C6AF2E37}" type="presOf" srcId="{D629327A-BBA4-4B39-A503-D06250BA8307}" destId="{23B0E3E3-3A9F-4A2A-B338-B1F5E0360EE4}" srcOrd="0" destOrd="0" presId="urn:microsoft.com/office/officeart/2005/8/layout/radial3"/>
    <dgm:cxn modelId="{165E7462-9E60-4E7F-A1BE-BC49A80C0197}" srcId="{684A3659-C16B-4FC4-90C0-A28F4C22EDA5}" destId="{F35F8397-AF87-4A65-9B2E-81386F2B0021}" srcOrd="32" destOrd="0" parTransId="{5D2C0788-38A9-45D5-831C-961658038B66}" sibTransId="{36BE9D1B-E28D-45CF-8A4C-D351707E18DF}"/>
    <dgm:cxn modelId="{C2A73E9F-BF44-43E6-8B3A-CCE19DD21D85}" type="presOf" srcId="{12085041-6181-49EC-B9A1-07E0EA6CB12C}" destId="{0DDC8712-617D-4CDE-B271-8E0ED2A97FD3}" srcOrd="0" destOrd="0" presId="urn:microsoft.com/office/officeart/2005/8/layout/radial3"/>
    <dgm:cxn modelId="{6E8373E3-A921-414B-BE5C-8668F8721538}" srcId="{684A3659-C16B-4FC4-90C0-A28F4C22EDA5}" destId="{0722DAC6-AC62-4F97-A8E6-9C6A7C4AF242}" srcOrd="0" destOrd="0" parTransId="{2B6BA4FD-1E6C-46F9-A087-BE11A0F335AF}" sibTransId="{9141BA3D-4535-43F7-84B2-03A9833A9B8D}"/>
    <dgm:cxn modelId="{B47984DD-25F3-4D80-A956-A3AAFC5DE7CC}" srcId="{684A3659-C16B-4FC4-90C0-A28F4C22EDA5}" destId="{E008CA36-5275-4711-9BD3-7929C31960B3}" srcOrd="42" destOrd="0" parTransId="{EDAF741A-D632-4FA1-8C6D-5B8E42252CDA}" sibTransId="{1B3F14F2-845F-4258-AE61-08A72D82C92E}"/>
    <dgm:cxn modelId="{3ADFEBB1-14DA-4FA8-BF11-D1544F338D1D}" type="presOf" srcId="{131E7FFA-894D-48E9-8173-A8AA4F251E37}" destId="{AAA7B1C7-3EE1-4FAE-A48E-CB388A7F5C79}" srcOrd="0" destOrd="0" presId="urn:microsoft.com/office/officeart/2005/8/layout/radial3"/>
    <dgm:cxn modelId="{B97D073D-2CC8-4090-B155-CD240882E151}" type="presOf" srcId="{0CCFF6B5-C911-4EDA-872D-38379FA0EC01}" destId="{54CA3B0E-151B-47CF-9534-03B4D8B4E117}" srcOrd="0" destOrd="0" presId="urn:microsoft.com/office/officeart/2005/8/layout/radial3"/>
    <dgm:cxn modelId="{049737D7-3452-41BB-93A3-CCE9055406AE}" type="presOf" srcId="{A80541ED-E426-4ECE-AC75-A0ED23E1F8F4}" destId="{B25E49EA-0D78-4746-B12A-7766D2853F4A}" srcOrd="0" destOrd="0" presId="urn:microsoft.com/office/officeart/2005/8/layout/radial3"/>
    <dgm:cxn modelId="{3CE8BEF3-B863-493D-9784-BBF7EBAC846A}" srcId="{684A3659-C16B-4FC4-90C0-A28F4C22EDA5}" destId="{678CE2F9-BF53-479D-ACA1-8044FF13CCC0}" srcOrd="6" destOrd="0" parTransId="{F7AE2359-5006-49EB-A2D8-94CDE5C603F1}" sibTransId="{E52ACA22-3C9D-4BEF-A96A-08DD9FEAFD8E}"/>
    <dgm:cxn modelId="{571943CC-21BB-48A0-BE76-0E3C69B3498C}" srcId="{684A3659-C16B-4FC4-90C0-A28F4C22EDA5}" destId="{24405BD5-4712-4CE0-ACA6-6306F421A5DA}" srcOrd="23" destOrd="0" parTransId="{ECBB2C15-2BD4-4D50-B6DE-D16CDDE0DF20}" sibTransId="{7A8673EA-C663-4BDA-8421-305EAD5060A7}"/>
    <dgm:cxn modelId="{F8C72F9E-81CA-4F28-BD28-6AFD1A758C2F}" type="presOf" srcId="{DEE5ACA7-5960-427C-8058-42A9873E7DCD}" destId="{B4C6B50C-9B3E-44CF-93E4-6AF815B6A993}" srcOrd="0" destOrd="0" presId="urn:microsoft.com/office/officeart/2005/8/layout/radial3"/>
    <dgm:cxn modelId="{DCFCC7F0-C3A2-4255-8761-5B4BF0A9F239}" srcId="{684A3659-C16B-4FC4-90C0-A28F4C22EDA5}" destId="{D629327A-BBA4-4B39-A503-D06250BA8307}" srcOrd="11" destOrd="0" parTransId="{BC0BF3EA-6B17-4504-BD53-597CABEED1FE}" sibTransId="{C930A8E3-6729-40BD-BD70-B81320C641BA}"/>
    <dgm:cxn modelId="{3344A14C-017F-4423-9030-BE56D3B764A0}" type="presOf" srcId="{5E9624D8-D6CE-4627-95D3-971D2EDB5F5E}" destId="{565CFA98-EDFA-42FD-B821-3E5674644356}" srcOrd="0" destOrd="0" presId="urn:microsoft.com/office/officeart/2005/8/layout/radial3"/>
    <dgm:cxn modelId="{1C14C6D4-60BD-4530-B947-CECA928DE695}" type="presOf" srcId="{C4599465-EB79-48D6-B862-8866977F8495}" destId="{9B4C0548-5417-404F-9FA0-F4085EA89E66}" srcOrd="0" destOrd="0" presId="urn:microsoft.com/office/officeart/2005/8/layout/radial3"/>
    <dgm:cxn modelId="{167263CC-F54B-4870-8C43-AB9049D6C029}" srcId="{684A3659-C16B-4FC4-90C0-A28F4C22EDA5}" destId="{31E9C24C-6875-41C3-957C-7D3413161056}" srcOrd="36" destOrd="0" parTransId="{E42AA51E-49D3-4FBA-8744-017ABECCEC85}" sibTransId="{9641AE2B-DC83-4FC1-9A0A-17B7D837A5A7}"/>
    <dgm:cxn modelId="{4353B9D1-928D-4E0B-BE1E-2C2CC2547B27}" type="presOf" srcId="{5231FD09-1948-46B8-81D2-C2C83548096A}" destId="{0EC7CF5E-26B2-4758-829B-7259D20F946E}" srcOrd="0" destOrd="0" presId="urn:microsoft.com/office/officeart/2005/8/layout/radial3"/>
    <dgm:cxn modelId="{3D689384-B0BE-4ADC-80B1-16AB877D020A}" srcId="{684A3659-C16B-4FC4-90C0-A28F4C22EDA5}" destId="{A80541ED-E426-4ECE-AC75-A0ED23E1F8F4}" srcOrd="30" destOrd="0" parTransId="{1239A34B-E2DC-4F02-B4DE-0EAD08179500}" sibTransId="{AFEC4015-FA65-4505-BDFD-65CC54638FF7}"/>
    <dgm:cxn modelId="{C4432E83-58E1-4934-BCE5-2956071F55C7}" srcId="{684A3659-C16B-4FC4-90C0-A28F4C22EDA5}" destId="{478B9072-E20B-4A40-8918-AF5AD2174F13}" srcOrd="39" destOrd="0" parTransId="{4521F722-94BA-4C2B-B2BE-FFCF39CCF958}" sibTransId="{5CCA293B-49FC-4651-A27E-D25C201B2BF0}"/>
    <dgm:cxn modelId="{3FE91C1B-E890-4F74-9FFD-2D9E3432BEC8}" srcId="{684A3659-C16B-4FC4-90C0-A28F4C22EDA5}" destId="{88BA2C43-8785-43D1-A528-692DBCDC4C15}" srcOrd="15" destOrd="0" parTransId="{63F45916-52EE-42B8-91F6-47CA2F5B4815}" sibTransId="{0D537CF3-7C21-46CF-B2EF-461D077412B1}"/>
    <dgm:cxn modelId="{292862FB-AEA2-47F5-9EAC-39C9644449E0}" srcId="{684A3659-C16B-4FC4-90C0-A28F4C22EDA5}" destId="{FE89201D-F888-45A7-8528-65A983AEB2D0}" srcOrd="26" destOrd="0" parTransId="{E1C5EF6B-25DB-4EAB-ADAA-8C1521E93827}" sibTransId="{071BF19F-17BE-4436-9CC6-2BFCD4A17B81}"/>
    <dgm:cxn modelId="{4210C40E-BA41-433F-B98A-3BA159C8C71A}" type="presOf" srcId="{0ACFC98C-97A2-4877-A79D-0A203BAE183F}" destId="{659FF624-14C0-457C-B329-056D8038A986}" srcOrd="0" destOrd="0" presId="urn:microsoft.com/office/officeart/2005/8/layout/radial3"/>
    <dgm:cxn modelId="{D60F76E7-3A7D-43CA-96AB-D8192AEFAB5D}" srcId="{684A3659-C16B-4FC4-90C0-A28F4C22EDA5}" destId="{C5D7EE84-BD1B-4247-84D1-BE03F8210ED3}" srcOrd="1" destOrd="0" parTransId="{3672B207-2382-45C8-8BE9-4E8C7D4EEAB5}" sibTransId="{F820E0F0-715C-4A79-B2B3-DD705DA2AE2A}"/>
    <dgm:cxn modelId="{67F1ACCD-D85D-4FC0-9F5B-0ABF2E295E24}" srcId="{684A3659-C16B-4FC4-90C0-A28F4C22EDA5}" destId="{D6865F87-8B28-4A41-B873-C5645D73D7B2}" srcOrd="14" destOrd="0" parTransId="{5326BF5B-0590-474F-B1A6-26CC9F768F6F}" sibTransId="{12B80C4B-1083-44E9-8E77-84CE20C4AC5A}"/>
    <dgm:cxn modelId="{102B6FD3-4BC9-4446-9159-2F6690C74B38}" type="presOf" srcId="{6F093447-2D8A-4FE2-9AA6-E5EA66AF5585}" destId="{BBF31471-3CD4-4563-9EDE-05B0F358A5DA}" srcOrd="0" destOrd="0" presId="urn:microsoft.com/office/officeart/2005/8/layout/radial3"/>
    <dgm:cxn modelId="{AA24F224-D482-4626-941A-4C5D6BB6910E}" type="presOf" srcId="{12BEF343-B126-47A9-9DB7-8FF21EED2C2D}" destId="{6AEF1381-053A-40B7-A728-73BE17EEEC00}" srcOrd="0" destOrd="0" presId="urn:microsoft.com/office/officeart/2005/8/layout/radial3"/>
    <dgm:cxn modelId="{8547059D-A1DD-47E8-82D9-24CF0F301B63}" type="presOf" srcId="{AF14D89E-D427-4C93-A558-77D983342835}" destId="{B4227AB9-2AD5-4D86-BC4F-74ACE9AB91F5}" srcOrd="0" destOrd="0" presId="urn:microsoft.com/office/officeart/2005/8/layout/radial3"/>
    <dgm:cxn modelId="{5741C8E4-2CBB-4353-BACC-82E99D911DC4}" type="presOf" srcId="{FE89201D-F888-45A7-8528-65A983AEB2D0}" destId="{7B54669E-C5F2-4AD1-A27C-341D889B56AF}" srcOrd="0" destOrd="0" presId="urn:microsoft.com/office/officeart/2005/8/layout/radial3"/>
    <dgm:cxn modelId="{CF53763E-71E8-4DF3-8D8A-9866EFA6C2E4}" srcId="{684A3659-C16B-4FC4-90C0-A28F4C22EDA5}" destId="{BEE2231A-E653-4E7C-AA39-40903082F07E}" srcOrd="3" destOrd="0" parTransId="{0119CC5E-1251-4B9B-8257-56125AB5D0DE}" sibTransId="{DD57E78F-F106-4170-BEA4-E365781473A0}"/>
    <dgm:cxn modelId="{1B53316D-1FD2-4142-891F-8234B9FE9682}" srcId="{684A3659-C16B-4FC4-90C0-A28F4C22EDA5}" destId="{C4599465-EB79-48D6-B862-8866977F8495}" srcOrd="20" destOrd="0" parTransId="{38FD2109-911E-4151-85EB-10A0AB71D93D}" sibTransId="{4391A6B3-AFA3-4609-B093-9F4E4EDFBC84}"/>
    <dgm:cxn modelId="{F70DB32C-C10B-4CC6-995C-727D2DC2A888}" srcId="{684A3659-C16B-4FC4-90C0-A28F4C22EDA5}" destId="{F0D0BA15-FE4D-4EB9-A82D-79D4296101B6}" srcOrd="21" destOrd="0" parTransId="{41D92588-C16C-402A-979E-7706F4823704}" sibTransId="{0EE9B353-8889-4B63-80AE-F9E889425308}"/>
    <dgm:cxn modelId="{A17C63A1-52F4-4FD8-91C1-FF4C71EAA9B8}" srcId="{684A3659-C16B-4FC4-90C0-A28F4C22EDA5}" destId="{ED007044-93CE-4086-8FFC-8452A4AC9D02}" srcOrd="2" destOrd="0" parTransId="{33FF8C5A-6D3F-4B5E-86B0-27160EE371AB}" sibTransId="{58D1CFE2-31EA-4DEB-9D5B-7EAAA55D3323}"/>
    <dgm:cxn modelId="{D4C44217-E723-4494-8B81-F108FAF64AD5}" srcId="{684A3659-C16B-4FC4-90C0-A28F4C22EDA5}" destId="{04ACD49C-5063-41BF-97D8-D604F754405E}" srcOrd="24" destOrd="0" parTransId="{2634240D-BF20-4A4C-8D51-C2D4DFCE9111}" sibTransId="{800B6112-26DA-435F-84AA-A84591EF3596}"/>
    <dgm:cxn modelId="{D64BD1E9-2D4C-431E-BA7C-90950CA1FDDF}" type="presOf" srcId="{5D782802-9402-46A9-94DD-C5B7FE44DD38}" destId="{5D6523B0-6A48-45D9-8AD2-E88DD73A7AB2}" srcOrd="0" destOrd="0" presId="urn:microsoft.com/office/officeart/2005/8/layout/radial3"/>
    <dgm:cxn modelId="{723624B4-8202-4F5C-8A76-D84E0530C3E2}" type="presOf" srcId="{ED007044-93CE-4086-8FFC-8452A4AC9D02}" destId="{ECAEA2FF-EB18-4C59-A774-DCC50F9F9F00}" srcOrd="0" destOrd="0" presId="urn:microsoft.com/office/officeart/2005/8/layout/radial3"/>
    <dgm:cxn modelId="{CB1DD85B-278A-4A3D-9E76-7537F71F0C3C}" srcId="{684A3659-C16B-4FC4-90C0-A28F4C22EDA5}" destId="{F5B5DFC6-EEDA-4246-B945-07308CFBFCC5}" srcOrd="29" destOrd="0" parTransId="{CE4DEBA6-DD96-4645-BE68-CAF4569A9353}" sibTransId="{48E13FA4-3561-4847-B562-FC70E46B8B04}"/>
    <dgm:cxn modelId="{0B9831AA-362B-4534-A09F-0BA3D7ED4CD8}" type="presOf" srcId="{3196DD19-1896-4D28-BD67-B0863E7DCD89}" destId="{B87D26D0-0EED-4369-B006-296832C578A3}" srcOrd="0" destOrd="0" presId="urn:microsoft.com/office/officeart/2005/8/layout/radial3"/>
    <dgm:cxn modelId="{854EC970-9B86-4618-B54D-896C14B30AF4}" srcId="{684A3659-C16B-4FC4-90C0-A28F4C22EDA5}" destId="{C747E3EF-2BCB-417F-A53A-0A8B2AD7B788}" srcOrd="45" destOrd="0" parTransId="{F5583FF2-1490-4DEC-9B2A-D426D3BA2412}" sibTransId="{487120E8-E52E-419E-97F0-5D16D3204752}"/>
    <dgm:cxn modelId="{91F12E68-BB64-4589-85CB-2D22D321FC9F}" srcId="{684A3659-C16B-4FC4-90C0-A28F4C22EDA5}" destId="{96D771E5-761A-4D61-89D5-5EBBA76F6E13}" srcOrd="41" destOrd="0" parTransId="{63420385-332E-458F-BEA5-C80D6305843C}" sibTransId="{F07C3BDE-070F-4468-B3E9-67E736837E3C}"/>
    <dgm:cxn modelId="{FB1DC184-7F06-4495-8B84-DDBCA401E0B4}" srcId="{684A3659-C16B-4FC4-90C0-A28F4C22EDA5}" destId="{7670F503-C63E-457E-B87A-D19017CED3C0}" srcOrd="22" destOrd="0" parTransId="{A5E8F6E9-9F68-48F9-90FB-CC87B7CB13ED}" sibTransId="{8B52B43A-1F42-448A-9A48-A5CF9FCFAA78}"/>
    <dgm:cxn modelId="{5C7181D2-D14D-414A-9C09-841B01322A46}" type="presOf" srcId="{31E9C24C-6875-41C3-957C-7D3413161056}" destId="{7EF6C888-262F-46DB-833F-C4C44761D17A}" srcOrd="0" destOrd="0" presId="urn:microsoft.com/office/officeart/2005/8/layout/radial3"/>
    <dgm:cxn modelId="{BF96A2C1-6068-4A60-863F-29FDDE23C362}" type="presOf" srcId="{504B1F59-A9B6-4B9F-AAF9-6FD778B00849}" destId="{2EE51203-5D2A-4C58-A136-C8511EBD86CC}" srcOrd="0" destOrd="0" presId="urn:microsoft.com/office/officeart/2005/8/layout/radial3"/>
    <dgm:cxn modelId="{60DEFEE0-99F4-43DE-9218-4460791BDB68}" type="presOf" srcId="{F5B5DFC6-EEDA-4246-B945-07308CFBFCC5}" destId="{397B2F7C-2748-4958-A655-A0351C0432DA}" srcOrd="0" destOrd="0" presId="urn:microsoft.com/office/officeart/2005/8/layout/radial3"/>
    <dgm:cxn modelId="{A2CC892C-A208-4D69-A9FF-9802871A8D9E}" srcId="{684A3659-C16B-4FC4-90C0-A28F4C22EDA5}" destId="{5E9624D8-D6CE-4627-95D3-971D2EDB5F5E}" srcOrd="19" destOrd="0" parTransId="{6E992585-0D49-4691-83B3-5FF60872EECF}" sibTransId="{A3BE1675-ADBF-469D-A084-A8E9363FA733}"/>
    <dgm:cxn modelId="{13A64334-6367-4E6B-8992-4CF32D5D138B}" srcId="{684A3659-C16B-4FC4-90C0-A28F4C22EDA5}" destId="{0CCFF6B5-C911-4EDA-872D-38379FA0EC01}" srcOrd="16" destOrd="0" parTransId="{81A4BE3C-22FB-48B4-A4FF-05BF8D47C1F9}" sibTransId="{FFEF420F-C777-45D8-B763-D157A0A30D0C}"/>
    <dgm:cxn modelId="{D8C60CB7-C230-4BBD-86E1-3D48E3737266}" type="presOf" srcId="{97CE49AA-6B5B-4C05-A547-69E131534C53}" destId="{628B43E3-A5FC-4B4E-AEA0-A88CCEEA98C7}" srcOrd="0" destOrd="0" presId="urn:microsoft.com/office/officeart/2005/8/layout/radial3"/>
    <dgm:cxn modelId="{537E718A-71E1-4561-A907-729C6BE63B8E}" type="presOf" srcId="{F0D0BA15-FE4D-4EB9-A82D-79D4296101B6}" destId="{E2F1C84B-E117-425E-8EF8-7F0056ECE0AC}" srcOrd="0" destOrd="0" presId="urn:microsoft.com/office/officeart/2005/8/layout/radial3"/>
    <dgm:cxn modelId="{490B458F-630D-4DCD-9D75-E62E570A1408}" srcId="{684A3659-C16B-4FC4-90C0-A28F4C22EDA5}" destId="{12085041-6181-49EC-B9A1-07E0EA6CB12C}" srcOrd="43" destOrd="0" parTransId="{4EADD9FF-F08A-4B3B-A7BA-F63C28A66E80}" sibTransId="{8654221E-423B-4BE0-A217-45F075F02ECA}"/>
    <dgm:cxn modelId="{CCC6CE9B-5E6E-4EDA-9413-824E4A643374}" type="presOf" srcId="{04ACD49C-5063-41BF-97D8-D604F754405E}" destId="{9F813910-02D8-46BB-B013-4E1E1B0FAF9C}" srcOrd="0" destOrd="0" presId="urn:microsoft.com/office/officeart/2005/8/layout/radial3"/>
    <dgm:cxn modelId="{ABBE5F21-B150-46FE-9A76-DA3C0043BACD}" srcId="{0ACFC98C-97A2-4877-A79D-0A203BAE183F}" destId="{684A3659-C16B-4FC4-90C0-A28F4C22EDA5}" srcOrd="0" destOrd="0" parTransId="{0FA51048-5DB6-4FBC-8A8D-9D23076D47DB}" sibTransId="{FE6765C0-4560-4821-B60E-2A2AA4D2EEFF}"/>
    <dgm:cxn modelId="{222674B5-BC5E-454B-AC8C-611CF072939E}" srcId="{684A3659-C16B-4FC4-90C0-A28F4C22EDA5}" destId="{D5F48018-F2D8-4AD5-B88D-3346E7A2DF87}" srcOrd="34" destOrd="0" parTransId="{25E6B697-D344-4025-A7F8-8AE01A14A1F9}" sibTransId="{E05D92D1-E35A-4F52-98B7-B53D1111166B}"/>
    <dgm:cxn modelId="{DEC9DC28-ED4D-4F91-907A-CEA63ED3E2D2}" srcId="{684A3659-C16B-4FC4-90C0-A28F4C22EDA5}" destId="{0757B4E6-ECF6-4044-942B-F1995C48C9DB}" srcOrd="44" destOrd="0" parTransId="{4D99EC70-8B75-4E4B-BD2E-3ABFC055B112}" sibTransId="{6C2FF08F-C722-4614-B821-F455031C5056}"/>
    <dgm:cxn modelId="{1135015D-0379-4B46-AF42-3CA6546DE358}" type="presOf" srcId="{7314E971-D0D1-4850-AC94-15B978AFA4C5}" destId="{2559363E-1A7B-4E40-BF5A-081647FED127}" srcOrd="0" destOrd="0" presId="urn:microsoft.com/office/officeart/2005/8/layout/radial3"/>
    <dgm:cxn modelId="{4C17F81F-4B46-4B36-B20E-862CFE879B6F}" srcId="{684A3659-C16B-4FC4-90C0-A28F4C22EDA5}" destId="{7314E971-D0D1-4850-AC94-15B978AFA4C5}" srcOrd="38" destOrd="0" parTransId="{7B10D3B1-C2B4-492A-B826-0792C1B41C89}" sibTransId="{0A8C5166-321F-4DEF-BAE8-569B7EC6ECCD}"/>
    <dgm:cxn modelId="{89769207-1066-4977-B0C3-B7CF3957A7F8}" srcId="{684A3659-C16B-4FC4-90C0-A28F4C22EDA5}" destId="{12BEF343-B126-47A9-9DB7-8FF21EED2C2D}" srcOrd="10" destOrd="0" parTransId="{2B70273E-7077-49BE-BC58-C0C01BBED0E1}" sibTransId="{34F3EC1F-572B-4C54-B32F-4B120715411D}"/>
    <dgm:cxn modelId="{4F945C83-0BA9-4E2E-BFA8-00BE77E4A7F5}" srcId="{684A3659-C16B-4FC4-90C0-A28F4C22EDA5}" destId="{5D782802-9402-46A9-94DD-C5B7FE44DD38}" srcOrd="12" destOrd="0" parTransId="{A7F63AF8-D3AF-454A-8366-228A1EDD2BDB}" sibTransId="{8B9F7EFA-8A01-4ADF-9C25-3312343A0589}"/>
    <dgm:cxn modelId="{D7A45F43-131E-4B5C-8AFB-BA08DED48A39}" type="presOf" srcId="{684A3659-C16B-4FC4-90C0-A28F4C22EDA5}" destId="{80ADC472-5778-41A3-9CBB-22FBF6A66492}" srcOrd="0" destOrd="0" presId="urn:microsoft.com/office/officeart/2005/8/layout/radial3"/>
    <dgm:cxn modelId="{DC5BA0BF-894E-40C9-9838-3B9FC4073DA2}" type="presOf" srcId="{678CE2F9-BF53-479D-ACA1-8044FF13CCC0}" destId="{394967EA-F0BE-408E-B1FF-661A9F6C6EFD}" srcOrd="0" destOrd="0" presId="urn:microsoft.com/office/officeart/2005/8/layout/radial3"/>
    <dgm:cxn modelId="{5DA7517B-3F50-4F2A-9360-7D6DEDED229D}" type="presOf" srcId="{E008CA36-5275-4711-9BD3-7929C31960B3}" destId="{432E0981-22E5-4B83-9816-1049E31598D1}" srcOrd="0" destOrd="0" presId="urn:microsoft.com/office/officeart/2005/8/layout/radial3"/>
    <dgm:cxn modelId="{B9307836-BC38-4FFA-B0ED-BBD73E3F5CDA}" srcId="{684A3659-C16B-4FC4-90C0-A28F4C22EDA5}" destId="{84711B06-4B30-40ED-8BC4-6917353F0AC0}" srcOrd="27" destOrd="0" parTransId="{2C28E93E-5B41-4FE9-9F3E-797AF5B059A5}" sibTransId="{0FC7E5BB-4115-4CF6-9048-81C48921A826}"/>
    <dgm:cxn modelId="{0B83ACA5-8035-4DF4-82E4-2C601DE75EE4}" type="presOf" srcId="{C747E3EF-2BCB-417F-A53A-0A8B2AD7B788}" destId="{C9C77559-CC4B-4CFC-A771-37A6597AA28D}" srcOrd="0" destOrd="0" presId="urn:microsoft.com/office/officeart/2005/8/layout/radial3"/>
    <dgm:cxn modelId="{E9390EB5-B803-4F35-B761-AE332BEDE9F2}" srcId="{684A3659-C16B-4FC4-90C0-A28F4C22EDA5}" destId="{68C1F8D3-6B2E-4020-8863-0CD2274190AD}" srcOrd="35" destOrd="0" parTransId="{B282B1D6-0F65-4AFC-8524-D5A4B4CFF0A8}" sibTransId="{264FEEF5-266F-4260-9485-3F2F17A5A03D}"/>
    <dgm:cxn modelId="{853DFB41-1F19-4318-A08C-242AB2E36682}" type="presOf" srcId="{24405BD5-4712-4CE0-ACA6-6306F421A5DA}" destId="{809D534D-C9D5-4502-8663-DF53AD809978}" srcOrd="0" destOrd="0" presId="urn:microsoft.com/office/officeart/2005/8/layout/radial3"/>
    <dgm:cxn modelId="{C5B411ED-EB25-4DFE-BA5B-75F8ED543FD8}" srcId="{684A3659-C16B-4FC4-90C0-A28F4C22EDA5}" destId="{AF14D89E-D427-4C93-A558-77D983342835}" srcOrd="7" destOrd="0" parTransId="{F9476E74-4E38-4517-81D7-E1E295A9202B}" sibTransId="{BF66627A-E4C9-4C39-8CC0-CD75A3D98BAA}"/>
    <dgm:cxn modelId="{CC24748A-7820-41AF-92F8-4F2BDA7FDBF4}" type="presOf" srcId="{7C489A3A-00F0-4517-B94A-0F42F75C1DAB}" destId="{4A77B030-66AC-4A47-8A4F-FDBA06E89660}" srcOrd="0" destOrd="0" presId="urn:microsoft.com/office/officeart/2005/8/layout/radial3"/>
    <dgm:cxn modelId="{B14BA90E-BD71-4AAC-ABBA-953AD25AFD19}" srcId="{684A3659-C16B-4FC4-90C0-A28F4C22EDA5}" destId="{3196DD19-1896-4D28-BD67-B0863E7DCD89}" srcOrd="13" destOrd="0" parTransId="{CF2C5ED8-EAC1-4E5B-B8F6-417E6E68DC2F}" sibTransId="{3A469698-6AFA-4204-9EFA-EB7A0F7708DF}"/>
    <dgm:cxn modelId="{5C001521-B04C-4B24-AEE6-AD3918DF5FBF}" srcId="{684A3659-C16B-4FC4-90C0-A28F4C22EDA5}" destId="{DEE5ACA7-5960-427C-8058-42A9873E7DCD}" srcOrd="25" destOrd="0" parTransId="{31AA0402-284F-48AE-AFF7-B5F2413D30C3}" sibTransId="{02EF805C-AFB6-41A3-A4B7-CC57C5224489}"/>
    <dgm:cxn modelId="{0422C60B-BF7D-4191-93D0-D8D2C93D0452}" type="presOf" srcId="{68C1F8D3-6B2E-4020-8863-0CD2274190AD}" destId="{40399B9A-DD22-44E2-A463-B8E3EECF37B1}" srcOrd="0" destOrd="0" presId="urn:microsoft.com/office/officeart/2005/8/layout/radial3"/>
    <dgm:cxn modelId="{FEE4AF7E-3BFE-4C12-B9E1-D08102DB0E26}" srcId="{684A3659-C16B-4FC4-90C0-A28F4C22EDA5}" destId="{6F093447-2D8A-4FE2-9AA6-E5EA66AF5585}" srcOrd="17" destOrd="0" parTransId="{B24F7F34-1233-42C1-B49B-F895FB7BEF2D}" sibTransId="{65531A23-BA06-4247-9075-9588B62C82DD}"/>
    <dgm:cxn modelId="{5FF09EF9-84F3-40B7-8AB1-AF81790776E2}" type="presOf" srcId="{88BA2C43-8785-43D1-A528-692DBCDC4C15}" destId="{95BB4986-CBEA-4367-A54F-F2EF252D0402}" srcOrd="0" destOrd="0" presId="urn:microsoft.com/office/officeart/2005/8/layout/radial3"/>
    <dgm:cxn modelId="{588D1337-76EA-4B56-92F2-65A7CAC3994D}" type="presOf" srcId="{D192367F-9ED3-4449-B3DE-45CF8BADA7B7}" destId="{692D1B14-3110-47C7-86B1-9275512432A4}" srcOrd="0" destOrd="0" presId="urn:microsoft.com/office/officeart/2005/8/layout/radial3"/>
    <dgm:cxn modelId="{841B7847-CCB3-4465-BC84-D5D47704B679}" type="presOf" srcId="{0722DAC6-AC62-4F97-A8E6-9C6A7C4AF242}" destId="{82A7BEF3-55E3-4F46-ADF8-F4AC9B28E654}" srcOrd="0" destOrd="0" presId="urn:microsoft.com/office/officeart/2005/8/layout/radial3"/>
    <dgm:cxn modelId="{D8EBB127-4797-4254-A0D4-EA4749FC0C6B}" srcId="{684A3659-C16B-4FC4-90C0-A28F4C22EDA5}" destId="{C37B1DEA-4521-4890-B072-47728A22AD47}" srcOrd="5" destOrd="0" parTransId="{DE37EFDC-A945-4FA7-9F6B-5BBDD47BCDEB}" sibTransId="{9713CB29-22F2-413A-9CC3-14F041517979}"/>
    <dgm:cxn modelId="{B09C7DA6-087D-4B5E-A5DE-88E249D91D8D}" type="presOf" srcId="{478B9072-E20B-4A40-8918-AF5AD2174F13}" destId="{D727AF04-8903-4EE0-B8B6-300814D9B92E}" srcOrd="0" destOrd="0" presId="urn:microsoft.com/office/officeart/2005/8/layout/radial3"/>
    <dgm:cxn modelId="{C6B18697-B361-48FF-A04A-5C983E0332BC}" type="presOf" srcId="{7670F503-C63E-457E-B87A-D19017CED3C0}" destId="{7FEAB518-E4DE-488E-904C-2B3AAF7C9A0E}" srcOrd="0" destOrd="0" presId="urn:microsoft.com/office/officeart/2005/8/layout/radial3"/>
    <dgm:cxn modelId="{C25DA05B-7DE2-47D5-B124-82A65FBA6A5D}" srcId="{684A3659-C16B-4FC4-90C0-A28F4C22EDA5}" destId="{D192367F-9ED3-4449-B3DE-45CF8BADA7B7}" srcOrd="4" destOrd="0" parTransId="{8136A7B4-B3B8-4426-BB9C-7C40E2834908}" sibTransId="{F05CEAEB-0228-4447-B1A9-F04E95364E04}"/>
    <dgm:cxn modelId="{3B9B47D7-F6D5-426B-B774-27F12773EE4E}" type="presOf" srcId="{F35F8397-AF87-4A65-9B2E-81386F2B0021}" destId="{38D7FF6F-970E-42F0-9087-E392FBF0646A}" srcOrd="0" destOrd="0" presId="urn:microsoft.com/office/officeart/2005/8/layout/radial3"/>
    <dgm:cxn modelId="{AA0BB83B-A710-4E2E-9725-F1C2FF375270}" srcId="{684A3659-C16B-4FC4-90C0-A28F4C22EDA5}" destId="{6AFA3B54-664E-4367-A4A1-072775B76B41}" srcOrd="31" destOrd="0" parTransId="{B316B7CD-8F0F-40B3-A4DB-7E898AB27B94}" sibTransId="{47A34369-FEA8-4704-9FCC-3C83DE0C2A3E}"/>
    <dgm:cxn modelId="{00855634-7301-4115-B135-A1187E849DD6}" srcId="{684A3659-C16B-4FC4-90C0-A28F4C22EDA5}" destId="{7C489A3A-00F0-4517-B94A-0F42F75C1DAB}" srcOrd="28" destOrd="0" parTransId="{8E94F51E-7740-4E4A-A72C-9DE278850186}" sibTransId="{8A515314-E5C3-4A10-9500-D1FA50E738C1}"/>
    <dgm:cxn modelId="{C148E2D3-FFA4-4CE8-B72C-0EB642B3B5EA}" type="presOf" srcId="{C37B1DEA-4521-4890-B072-47728A22AD47}" destId="{7B41DDF6-4E6E-4FB7-8B3F-35181963D509}" srcOrd="0" destOrd="0" presId="urn:microsoft.com/office/officeart/2005/8/layout/radial3"/>
    <dgm:cxn modelId="{899A341E-67AA-4D90-8D16-8B6718E505AF}" type="presOf" srcId="{D5F48018-F2D8-4AD5-B88D-3346E7A2DF87}" destId="{AFB3AFFD-1988-48E7-A3CB-EB0327EAF83E}" srcOrd="0" destOrd="0" presId="urn:microsoft.com/office/officeart/2005/8/layout/radial3"/>
    <dgm:cxn modelId="{412718C8-F37F-482A-8B9F-CB37478E4C29}" type="presOf" srcId="{99759FF4-0934-416D-8452-6463BBD549B7}" destId="{040EADA5-5F63-4F1D-BF6D-3BE7F78E3D63}" srcOrd="0" destOrd="0" presId="urn:microsoft.com/office/officeart/2005/8/layout/radial3"/>
    <dgm:cxn modelId="{8C492AA1-323D-48BB-BEC8-AEC02FEDB773}" srcId="{684A3659-C16B-4FC4-90C0-A28F4C22EDA5}" destId="{97CE49AA-6B5B-4C05-A547-69E131534C53}" srcOrd="33" destOrd="0" parTransId="{C4B7FDDE-625A-4CA9-8B79-CC92764CCF7F}" sibTransId="{1E04EB51-EB94-461B-A36A-73A0D89FC695}"/>
    <dgm:cxn modelId="{428863E5-D065-4AE5-BA5F-878831C81F92}" srcId="{684A3659-C16B-4FC4-90C0-A28F4C22EDA5}" destId="{99759FF4-0934-416D-8452-6463BBD549B7}" srcOrd="40" destOrd="0" parTransId="{8ADEA163-CC37-4E56-ACF7-6044411411F5}" sibTransId="{71E1B5D0-6DA9-4D72-B6DC-C4A1B0C4CD6E}"/>
    <dgm:cxn modelId="{DF256AF6-93C8-423F-B05D-4FE8FA424B46}" type="presOf" srcId="{84711B06-4B30-40ED-8BC4-6917353F0AC0}" destId="{817E8A14-5281-4840-A0EA-4D690F75A419}" srcOrd="0" destOrd="0" presId="urn:microsoft.com/office/officeart/2005/8/layout/radial3"/>
    <dgm:cxn modelId="{98E64718-E008-4DC6-93B6-A0A6D9D0ADF7}" srcId="{684A3659-C16B-4FC4-90C0-A28F4C22EDA5}" destId="{5231FD09-1948-46B8-81D2-C2C83548096A}" srcOrd="9" destOrd="0" parTransId="{D284E17A-2151-4A8D-A43A-A016DFEDA5FD}" sibTransId="{61A5D4FE-4B4E-4B0D-A55D-7BB8A4D4E3EE}"/>
    <dgm:cxn modelId="{56223E7B-2162-4F2D-A3E9-78EEC407B8EC}" type="presOf" srcId="{5F94EF3A-C01A-45F0-ACB2-65C4BC9CF602}" destId="{74566187-58D7-4D8D-8BB4-520750DB166D}" srcOrd="0" destOrd="0" presId="urn:microsoft.com/office/officeart/2005/8/layout/radial3"/>
    <dgm:cxn modelId="{4CDABBF1-E157-4BCC-BE62-3F0F1B1E6AD3}" type="presParOf" srcId="{659FF624-14C0-457C-B329-056D8038A986}" destId="{D61C42D5-04B7-4BB6-9E28-97DD129FAC7E}" srcOrd="0" destOrd="0" presId="urn:microsoft.com/office/officeart/2005/8/layout/radial3"/>
    <dgm:cxn modelId="{4FD4D9AD-79A8-4333-9A46-D7493B1A5D74}" type="presParOf" srcId="{D61C42D5-04B7-4BB6-9E28-97DD129FAC7E}" destId="{80ADC472-5778-41A3-9CBB-22FBF6A66492}" srcOrd="0" destOrd="0" presId="urn:microsoft.com/office/officeart/2005/8/layout/radial3"/>
    <dgm:cxn modelId="{210171A9-22C8-4196-A6A0-1B995CB85263}" type="presParOf" srcId="{D61C42D5-04B7-4BB6-9E28-97DD129FAC7E}" destId="{82A7BEF3-55E3-4F46-ADF8-F4AC9B28E654}" srcOrd="1" destOrd="0" presId="urn:microsoft.com/office/officeart/2005/8/layout/radial3"/>
    <dgm:cxn modelId="{F5C86E39-5277-4195-B29D-540A5151A3F0}" type="presParOf" srcId="{D61C42D5-04B7-4BB6-9E28-97DD129FAC7E}" destId="{20E1AF70-BB5C-4693-A276-714D5123CB5E}" srcOrd="2" destOrd="0" presId="urn:microsoft.com/office/officeart/2005/8/layout/radial3"/>
    <dgm:cxn modelId="{A3D3A1E6-91C8-491B-8256-B0BAAA1EFC50}" type="presParOf" srcId="{D61C42D5-04B7-4BB6-9E28-97DD129FAC7E}" destId="{ECAEA2FF-EB18-4C59-A774-DCC50F9F9F00}" srcOrd="3" destOrd="0" presId="urn:microsoft.com/office/officeart/2005/8/layout/radial3"/>
    <dgm:cxn modelId="{E6562A09-31C3-4924-9900-CCCB733E59C5}" type="presParOf" srcId="{D61C42D5-04B7-4BB6-9E28-97DD129FAC7E}" destId="{52B0A3DC-3A7D-44B2-BD9E-C220BA3878AD}" srcOrd="4" destOrd="0" presId="urn:microsoft.com/office/officeart/2005/8/layout/radial3"/>
    <dgm:cxn modelId="{A5C85C35-16C3-41C9-9BA0-F57A3E154E9D}" type="presParOf" srcId="{D61C42D5-04B7-4BB6-9E28-97DD129FAC7E}" destId="{692D1B14-3110-47C7-86B1-9275512432A4}" srcOrd="5" destOrd="0" presId="urn:microsoft.com/office/officeart/2005/8/layout/radial3"/>
    <dgm:cxn modelId="{70D05B89-92FF-4CC0-8D2E-FE44F44AC699}" type="presParOf" srcId="{D61C42D5-04B7-4BB6-9E28-97DD129FAC7E}" destId="{7B41DDF6-4E6E-4FB7-8B3F-35181963D509}" srcOrd="6" destOrd="0" presId="urn:microsoft.com/office/officeart/2005/8/layout/radial3"/>
    <dgm:cxn modelId="{2A22D197-5814-46A9-8FCF-B8A3EA11C421}" type="presParOf" srcId="{D61C42D5-04B7-4BB6-9E28-97DD129FAC7E}" destId="{394967EA-F0BE-408E-B1FF-661A9F6C6EFD}" srcOrd="7" destOrd="0" presId="urn:microsoft.com/office/officeart/2005/8/layout/radial3"/>
    <dgm:cxn modelId="{F1861194-5429-40DA-A42D-95EB72C91EC3}" type="presParOf" srcId="{D61C42D5-04B7-4BB6-9E28-97DD129FAC7E}" destId="{B4227AB9-2AD5-4D86-BC4F-74ACE9AB91F5}" srcOrd="8" destOrd="0" presId="urn:microsoft.com/office/officeart/2005/8/layout/radial3"/>
    <dgm:cxn modelId="{FCE17F71-DDB8-459B-9667-7B90A4011AFD}" type="presParOf" srcId="{D61C42D5-04B7-4BB6-9E28-97DD129FAC7E}" destId="{2EE51203-5D2A-4C58-A136-C8511EBD86CC}" srcOrd="9" destOrd="0" presId="urn:microsoft.com/office/officeart/2005/8/layout/radial3"/>
    <dgm:cxn modelId="{B33945FB-1096-46AC-92A7-958D68D9853F}" type="presParOf" srcId="{D61C42D5-04B7-4BB6-9E28-97DD129FAC7E}" destId="{0EC7CF5E-26B2-4758-829B-7259D20F946E}" srcOrd="10" destOrd="0" presId="urn:microsoft.com/office/officeart/2005/8/layout/radial3"/>
    <dgm:cxn modelId="{DE4AEBC5-7AE6-431D-9B0C-A6819B6E0A13}" type="presParOf" srcId="{D61C42D5-04B7-4BB6-9E28-97DD129FAC7E}" destId="{6AEF1381-053A-40B7-A728-73BE17EEEC00}" srcOrd="11" destOrd="0" presId="urn:microsoft.com/office/officeart/2005/8/layout/radial3"/>
    <dgm:cxn modelId="{28A65E25-714B-4744-A720-5A65EB47688A}" type="presParOf" srcId="{D61C42D5-04B7-4BB6-9E28-97DD129FAC7E}" destId="{23B0E3E3-3A9F-4A2A-B338-B1F5E0360EE4}" srcOrd="12" destOrd="0" presId="urn:microsoft.com/office/officeart/2005/8/layout/radial3"/>
    <dgm:cxn modelId="{33497EF6-4CFD-4AFF-9220-5170F000763C}" type="presParOf" srcId="{D61C42D5-04B7-4BB6-9E28-97DD129FAC7E}" destId="{5D6523B0-6A48-45D9-8AD2-E88DD73A7AB2}" srcOrd="13" destOrd="0" presId="urn:microsoft.com/office/officeart/2005/8/layout/radial3"/>
    <dgm:cxn modelId="{F580B031-F9C1-46B5-A865-6EF2F418250F}" type="presParOf" srcId="{D61C42D5-04B7-4BB6-9E28-97DD129FAC7E}" destId="{B87D26D0-0EED-4369-B006-296832C578A3}" srcOrd="14" destOrd="0" presId="urn:microsoft.com/office/officeart/2005/8/layout/radial3"/>
    <dgm:cxn modelId="{87C39B6D-868C-4CDD-85C8-DF5FDFC75FE4}" type="presParOf" srcId="{D61C42D5-04B7-4BB6-9E28-97DD129FAC7E}" destId="{778CBD5D-CCA5-490B-BCBD-8ECBE3D06FDE}" srcOrd="15" destOrd="0" presId="urn:microsoft.com/office/officeart/2005/8/layout/radial3"/>
    <dgm:cxn modelId="{2CA9851E-DE08-4000-B469-4A5E9F7359B9}" type="presParOf" srcId="{D61C42D5-04B7-4BB6-9E28-97DD129FAC7E}" destId="{95BB4986-CBEA-4367-A54F-F2EF252D0402}" srcOrd="16" destOrd="0" presId="urn:microsoft.com/office/officeart/2005/8/layout/radial3"/>
    <dgm:cxn modelId="{0A843AED-935C-4DB1-913A-90EEED3CB059}" type="presParOf" srcId="{D61C42D5-04B7-4BB6-9E28-97DD129FAC7E}" destId="{54CA3B0E-151B-47CF-9534-03B4D8B4E117}" srcOrd="17" destOrd="0" presId="urn:microsoft.com/office/officeart/2005/8/layout/radial3"/>
    <dgm:cxn modelId="{58A2AFAD-EBCD-4E84-A4EF-EFB060FE7D90}" type="presParOf" srcId="{D61C42D5-04B7-4BB6-9E28-97DD129FAC7E}" destId="{BBF31471-3CD4-4563-9EDE-05B0F358A5DA}" srcOrd="18" destOrd="0" presId="urn:microsoft.com/office/officeart/2005/8/layout/radial3"/>
    <dgm:cxn modelId="{562D383B-D9E0-4EAC-A95C-E1664396F081}" type="presParOf" srcId="{D61C42D5-04B7-4BB6-9E28-97DD129FAC7E}" destId="{74566187-58D7-4D8D-8BB4-520750DB166D}" srcOrd="19" destOrd="0" presId="urn:microsoft.com/office/officeart/2005/8/layout/radial3"/>
    <dgm:cxn modelId="{A129AD2B-472C-4B30-9639-F9A4584A4CA6}" type="presParOf" srcId="{D61C42D5-04B7-4BB6-9E28-97DD129FAC7E}" destId="{565CFA98-EDFA-42FD-B821-3E5674644356}" srcOrd="20" destOrd="0" presId="urn:microsoft.com/office/officeart/2005/8/layout/radial3"/>
    <dgm:cxn modelId="{8175F17B-0EC6-4AD6-A3FA-8B232A6E5888}" type="presParOf" srcId="{D61C42D5-04B7-4BB6-9E28-97DD129FAC7E}" destId="{9B4C0548-5417-404F-9FA0-F4085EA89E66}" srcOrd="21" destOrd="0" presId="urn:microsoft.com/office/officeart/2005/8/layout/radial3"/>
    <dgm:cxn modelId="{80EA1D50-CA39-45A1-8E4C-289A2C382768}" type="presParOf" srcId="{D61C42D5-04B7-4BB6-9E28-97DD129FAC7E}" destId="{E2F1C84B-E117-425E-8EF8-7F0056ECE0AC}" srcOrd="22" destOrd="0" presId="urn:microsoft.com/office/officeart/2005/8/layout/radial3"/>
    <dgm:cxn modelId="{E82031DE-31A0-4520-8D91-5A02A5CB7ADD}" type="presParOf" srcId="{D61C42D5-04B7-4BB6-9E28-97DD129FAC7E}" destId="{7FEAB518-E4DE-488E-904C-2B3AAF7C9A0E}" srcOrd="23" destOrd="0" presId="urn:microsoft.com/office/officeart/2005/8/layout/radial3"/>
    <dgm:cxn modelId="{F4C6CDB3-2D03-4D13-B892-B1875D685707}" type="presParOf" srcId="{D61C42D5-04B7-4BB6-9E28-97DD129FAC7E}" destId="{809D534D-C9D5-4502-8663-DF53AD809978}" srcOrd="24" destOrd="0" presId="urn:microsoft.com/office/officeart/2005/8/layout/radial3"/>
    <dgm:cxn modelId="{D6C9B9CA-D797-40A3-8F1F-6EFDEE57C225}" type="presParOf" srcId="{D61C42D5-04B7-4BB6-9E28-97DD129FAC7E}" destId="{9F813910-02D8-46BB-B013-4E1E1B0FAF9C}" srcOrd="25" destOrd="0" presId="urn:microsoft.com/office/officeart/2005/8/layout/radial3"/>
    <dgm:cxn modelId="{8C773E74-A9FD-4000-8A4D-69925529A83E}" type="presParOf" srcId="{D61C42D5-04B7-4BB6-9E28-97DD129FAC7E}" destId="{B4C6B50C-9B3E-44CF-93E4-6AF815B6A993}" srcOrd="26" destOrd="0" presId="urn:microsoft.com/office/officeart/2005/8/layout/radial3"/>
    <dgm:cxn modelId="{CD510106-4B57-4CE3-A1C0-64F948C09D80}" type="presParOf" srcId="{D61C42D5-04B7-4BB6-9E28-97DD129FAC7E}" destId="{7B54669E-C5F2-4AD1-A27C-341D889B56AF}" srcOrd="27" destOrd="0" presId="urn:microsoft.com/office/officeart/2005/8/layout/radial3"/>
    <dgm:cxn modelId="{88A71538-8139-4137-8625-BC2F60BC2927}" type="presParOf" srcId="{D61C42D5-04B7-4BB6-9E28-97DD129FAC7E}" destId="{817E8A14-5281-4840-A0EA-4D690F75A419}" srcOrd="28" destOrd="0" presId="urn:microsoft.com/office/officeart/2005/8/layout/radial3"/>
    <dgm:cxn modelId="{6300711D-541F-4900-BE74-7EB2897190BA}" type="presParOf" srcId="{D61C42D5-04B7-4BB6-9E28-97DD129FAC7E}" destId="{4A77B030-66AC-4A47-8A4F-FDBA06E89660}" srcOrd="29" destOrd="0" presId="urn:microsoft.com/office/officeart/2005/8/layout/radial3"/>
    <dgm:cxn modelId="{D4DEF0F9-3AF7-4690-A984-D77EB5D4E5F0}" type="presParOf" srcId="{D61C42D5-04B7-4BB6-9E28-97DD129FAC7E}" destId="{397B2F7C-2748-4958-A655-A0351C0432DA}" srcOrd="30" destOrd="0" presId="urn:microsoft.com/office/officeart/2005/8/layout/radial3"/>
    <dgm:cxn modelId="{0A4DA450-3E82-4BD3-B4EB-639762351944}" type="presParOf" srcId="{D61C42D5-04B7-4BB6-9E28-97DD129FAC7E}" destId="{B25E49EA-0D78-4746-B12A-7766D2853F4A}" srcOrd="31" destOrd="0" presId="urn:microsoft.com/office/officeart/2005/8/layout/radial3"/>
    <dgm:cxn modelId="{3A0F4999-8032-4FD1-A8EC-1B822B4247C0}" type="presParOf" srcId="{D61C42D5-04B7-4BB6-9E28-97DD129FAC7E}" destId="{33543456-24C9-4B75-8F78-9F285862A208}" srcOrd="32" destOrd="0" presId="urn:microsoft.com/office/officeart/2005/8/layout/radial3"/>
    <dgm:cxn modelId="{E07CF752-8632-440D-9542-E25C7F5BABBD}" type="presParOf" srcId="{D61C42D5-04B7-4BB6-9E28-97DD129FAC7E}" destId="{38D7FF6F-970E-42F0-9087-E392FBF0646A}" srcOrd="33" destOrd="0" presId="urn:microsoft.com/office/officeart/2005/8/layout/radial3"/>
    <dgm:cxn modelId="{E4768A04-522C-4AC4-A052-4A24735D7754}" type="presParOf" srcId="{D61C42D5-04B7-4BB6-9E28-97DD129FAC7E}" destId="{628B43E3-A5FC-4B4E-AEA0-A88CCEEA98C7}" srcOrd="34" destOrd="0" presId="urn:microsoft.com/office/officeart/2005/8/layout/radial3"/>
    <dgm:cxn modelId="{5E4667CC-BAD5-4339-9DB4-0938FE3B71E2}" type="presParOf" srcId="{D61C42D5-04B7-4BB6-9E28-97DD129FAC7E}" destId="{AFB3AFFD-1988-48E7-A3CB-EB0327EAF83E}" srcOrd="35" destOrd="0" presId="urn:microsoft.com/office/officeart/2005/8/layout/radial3"/>
    <dgm:cxn modelId="{0865C346-D852-4A5D-87AD-ABEA9934690B}" type="presParOf" srcId="{D61C42D5-04B7-4BB6-9E28-97DD129FAC7E}" destId="{40399B9A-DD22-44E2-A463-B8E3EECF37B1}" srcOrd="36" destOrd="0" presId="urn:microsoft.com/office/officeart/2005/8/layout/radial3"/>
    <dgm:cxn modelId="{6E86BA7E-7C9B-462F-964A-11D03E968A33}" type="presParOf" srcId="{D61C42D5-04B7-4BB6-9E28-97DD129FAC7E}" destId="{7EF6C888-262F-46DB-833F-C4C44761D17A}" srcOrd="37" destOrd="0" presId="urn:microsoft.com/office/officeart/2005/8/layout/radial3"/>
    <dgm:cxn modelId="{1A055428-5443-47EF-8B4F-6F02F913CB68}" type="presParOf" srcId="{D61C42D5-04B7-4BB6-9E28-97DD129FAC7E}" destId="{AAA7B1C7-3EE1-4FAE-A48E-CB388A7F5C79}" srcOrd="38" destOrd="0" presId="urn:microsoft.com/office/officeart/2005/8/layout/radial3"/>
    <dgm:cxn modelId="{C972461B-D9E3-462D-AA68-661C37D90CA1}" type="presParOf" srcId="{D61C42D5-04B7-4BB6-9E28-97DD129FAC7E}" destId="{2559363E-1A7B-4E40-BF5A-081647FED127}" srcOrd="39" destOrd="0" presId="urn:microsoft.com/office/officeart/2005/8/layout/radial3"/>
    <dgm:cxn modelId="{8B1CA840-E837-4EE7-BCF1-5E69E0ED88B7}" type="presParOf" srcId="{D61C42D5-04B7-4BB6-9E28-97DD129FAC7E}" destId="{D727AF04-8903-4EE0-B8B6-300814D9B92E}" srcOrd="40" destOrd="0" presId="urn:microsoft.com/office/officeart/2005/8/layout/radial3"/>
    <dgm:cxn modelId="{954E26D8-12F3-4022-995F-64060B2A87C9}" type="presParOf" srcId="{D61C42D5-04B7-4BB6-9E28-97DD129FAC7E}" destId="{040EADA5-5F63-4F1D-BF6D-3BE7F78E3D63}" srcOrd="41" destOrd="0" presId="urn:microsoft.com/office/officeart/2005/8/layout/radial3"/>
    <dgm:cxn modelId="{3C9BA00E-8672-4708-81A5-49F59B219475}" type="presParOf" srcId="{D61C42D5-04B7-4BB6-9E28-97DD129FAC7E}" destId="{3F9AFC8F-635F-4546-9C6C-8C9292D7F846}" srcOrd="42" destOrd="0" presId="urn:microsoft.com/office/officeart/2005/8/layout/radial3"/>
    <dgm:cxn modelId="{0E50A945-0B51-4304-BF7B-2C9CCE5BBF09}" type="presParOf" srcId="{D61C42D5-04B7-4BB6-9E28-97DD129FAC7E}" destId="{432E0981-22E5-4B83-9816-1049E31598D1}" srcOrd="43" destOrd="0" presId="urn:microsoft.com/office/officeart/2005/8/layout/radial3"/>
    <dgm:cxn modelId="{1C37818B-635B-412B-B1BD-3975BC861475}" type="presParOf" srcId="{D61C42D5-04B7-4BB6-9E28-97DD129FAC7E}" destId="{0DDC8712-617D-4CDE-B271-8E0ED2A97FD3}" srcOrd="44" destOrd="0" presId="urn:microsoft.com/office/officeart/2005/8/layout/radial3"/>
    <dgm:cxn modelId="{4A8F3C8B-6280-4E1A-BE38-DDA10A5F8B0A}" type="presParOf" srcId="{D61C42D5-04B7-4BB6-9E28-97DD129FAC7E}" destId="{96755A41-C44F-48A7-BB1B-7166979A6280}" srcOrd="45" destOrd="0" presId="urn:microsoft.com/office/officeart/2005/8/layout/radial3"/>
    <dgm:cxn modelId="{0300DC53-4586-4206-9E1B-699B876D5B8B}" type="presParOf" srcId="{D61C42D5-04B7-4BB6-9E28-97DD129FAC7E}" destId="{C9C77559-CC4B-4CFC-A771-37A6597AA28D}" srcOrd="46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ADC472-5778-41A3-9CBB-22FBF6A66492}">
      <dsp:nvSpPr>
        <dsp:cNvPr id="0" name=""/>
        <dsp:cNvSpPr/>
      </dsp:nvSpPr>
      <dsp:spPr>
        <a:xfrm>
          <a:off x="3528240" y="1101726"/>
          <a:ext cx="4802406" cy="4592557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2400" kern="1200" dirty="0" smtClean="0"/>
            <a:t>Læring, </a:t>
          </a:r>
          <a:r>
            <a:rPr lang="nb-NO" sz="2400" kern="1200" dirty="0" err="1" smtClean="0"/>
            <a:t>meistring</a:t>
          </a:r>
          <a:r>
            <a:rPr lang="nb-NO" sz="2400" kern="1200" dirty="0" smtClean="0"/>
            <a:t>, fysikalsk medisin og rehabilitering</a:t>
          </a:r>
          <a:br>
            <a:rPr lang="nb-NO" sz="2400" kern="1200" dirty="0" smtClean="0"/>
          </a:br>
          <a:endParaRPr lang="nb-NO" sz="2400" kern="1200" dirty="0"/>
        </a:p>
      </dsp:txBody>
      <dsp:txXfrm>
        <a:off x="4231536" y="1774290"/>
        <a:ext cx="3395814" cy="3247429"/>
      </dsp:txXfrm>
    </dsp:sp>
    <dsp:sp modelId="{82A7BEF3-55E3-4F46-ADF8-F4AC9B28E654}">
      <dsp:nvSpPr>
        <dsp:cNvPr id="0" name=""/>
        <dsp:cNvSpPr/>
      </dsp:nvSpPr>
      <dsp:spPr>
        <a:xfrm>
          <a:off x="5319272" y="17247"/>
          <a:ext cx="730335" cy="1648151"/>
        </a:xfrm>
        <a:prstGeom prst="ellipse">
          <a:avLst/>
        </a:prstGeom>
        <a:solidFill>
          <a:schemeClr val="accent3">
            <a:alpha val="50000"/>
            <a:hueOff val="58926"/>
            <a:satOff val="2174"/>
            <a:lumOff val="-32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Diabetes type 1</a:t>
          </a:r>
          <a:endParaRPr lang="nb-NO" sz="1000" b="1" kern="1200" dirty="0"/>
        </a:p>
      </dsp:txBody>
      <dsp:txXfrm>
        <a:off x="5426227" y="258613"/>
        <a:ext cx="516425" cy="1165419"/>
      </dsp:txXfrm>
    </dsp:sp>
    <dsp:sp modelId="{20E1AF70-BB5C-4693-A276-714D5123CB5E}">
      <dsp:nvSpPr>
        <dsp:cNvPr id="0" name=""/>
        <dsp:cNvSpPr/>
      </dsp:nvSpPr>
      <dsp:spPr>
        <a:xfrm>
          <a:off x="5834255" y="-223234"/>
          <a:ext cx="698005" cy="1900903"/>
        </a:xfrm>
        <a:prstGeom prst="ellipse">
          <a:avLst/>
        </a:prstGeom>
        <a:solidFill>
          <a:schemeClr val="accent3">
            <a:alpha val="50000"/>
            <a:hueOff val="117852"/>
            <a:satOff val="4348"/>
            <a:lumOff val="-63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 Diabetes type 2</a:t>
          </a:r>
          <a:endParaRPr lang="nb-NO" sz="1000" b="1" kern="1200" dirty="0"/>
        </a:p>
      </dsp:txBody>
      <dsp:txXfrm>
        <a:off x="5936475" y="55147"/>
        <a:ext cx="493565" cy="1344141"/>
      </dsp:txXfrm>
    </dsp:sp>
    <dsp:sp modelId="{ECAEA2FF-EB18-4C59-A774-DCC50F9F9F00}">
      <dsp:nvSpPr>
        <dsp:cNvPr id="0" name=""/>
        <dsp:cNvSpPr/>
      </dsp:nvSpPr>
      <dsp:spPr>
        <a:xfrm rot="18196850">
          <a:off x="5746608" y="523194"/>
          <a:ext cx="1911009" cy="518273"/>
        </a:xfrm>
        <a:prstGeom prst="ellipse">
          <a:avLst/>
        </a:prstGeom>
        <a:solidFill>
          <a:schemeClr val="accent3">
            <a:alpha val="50000"/>
            <a:hueOff val="176778"/>
            <a:satOff val="6522"/>
            <a:lumOff val="-95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Hjarte</a:t>
          </a:r>
          <a:endParaRPr lang="nb-NO" sz="1000" b="1" kern="1200" dirty="0" smtClean="0"/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rehabilitering</a:t>
          </a:r>
          <a:endParaRPr lang="nb-NO" sz="1000" b="1" kern="1200" dirty="0"/>
        </a:p>
      </dsp:txBody>
      <dsp:txXfrm>
        <a:off x="6026469" y="599093"/>
        <a:ext cx="1351287" cy="366475"/>
      </dsp:txXfrm>
    </dsp:sp>
    <dsp:sp modelId="{52B0A3DC-3A7D-44B2-BD9E-C220BA3878AD}">
      <dsp:nvSpPr>
        <dsp:cNvPr id="0" name=""/>
        <dsp:cNvSpPr/>
      </dsp:nvSpPr>
      <dsp:spPr>
        <a:xfrm rot="18708949">
          <a:off x="6200273" y="649795"/>
          <a:ext cx="1932989" cy="553531"/>
        </a:xfrm>
        <a:prstGeom prst="ellipse">
          <a:avLst/>
        </a:prstGeom>
        <a:solidFill>
          <a:schemeClr val="accent3">
            <a:alpha val="50000"/>
            <a:hueOff val="235704"/>
            <a:satOff val="8696"/>
            <a:lumOff val="-12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Meistringskurs</a:t>
          </a:r>
          <a:r>
            <a:rPr lang="nb-NO" sz="1000" b="1" kern="1200" dirty="0" smtClean="0"/>
            <a:t> ved </a:t>
          </a:r>
          <a:r>
            <a:rPr lang="nb-NO" sz="1000" b="1" kern="1200" dirty="0" err="1" smtClean="0"/>
            <a:t>hjartesjukdom</a:t>
          </a:r>
          <a:endParaRPr lang="nb-NO" sz="1000" b="1" kern="1200" dirty="0"/>
        </a:p>
      </dsp:txBody>
      <dsp:txXfrm>
        <a:off x="6483353" y="730858"/>
        <a:ext cx="1366829" cy="391405"/>
      </dsp:txXfrm>
    </dsp:sp>
    <dsp:sp modelId="{692D1B14-3110-47C7-86B1-9275512432A4}">
      <dsp:nvSpPr>
        <dsp:cNvPr id="0" name=""/>
        <dsp:cNvSpPr/>
      </dsp:nvSpPr>
      <dsp:spPr>
        <a:xfrm rot="19407578">
          <a:off x="6648505" y="848367"/>
          <a:ext cx="1977395" cy="490903"/>
        </a:xfrm>
        <a:prstGeom prst="ellipse">
          <a:avLst/>
        </a:prstGeom>
        <a:solidFill>
          <a:schemeClr val="accent3">
            <a:alpha val="50000"/>
            <a:hueOff val="294630"/>
            <a:satOff val="10870"/>
            <a:lumOff val="-159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Meistringskurs</a:t>
          </a:r>
          <a:r>
            <a:rPr lang="nb-NO" sz="1000" b="1" kern="1200" dirty="0" smtClean="0"/>
            <a:t> pasient og </a:t>
          </a:r>
          <a:r>
            <a:rPr lang="nb-NO" sz="1000" b="1" kern="1200" dirty="0" err="1" smtClean="0"/>
            <a:t>pårørande</a:t>
          </a:r>
          <a:r>
            <a:rPr lang="nb-NO" sz="1000" b="1" kern="1200" dirty="0" smtClean="0"/>
            <a:t> kreft</a:t>
          </a:r>
          <a:endParaRPr lang="nb-NO" sz="1000" b="1" kern="1200" dirty="0"/>
        </a:p>
      </dsp:txBody>
      <dsp:txXfrm>
        <a:off x="6938088" y="920258"/>
        <a:ext cx="1398229" cy="347121"/>
      </dsp:txXfrm>
    </dsp:sp>
    <dsp:sp modelId="{7B41DDF6-4E6E-4FB7-8B3F-35181963D509}">
      <dsp:nvSpPr>
        <dsp:cNvPr id="0" name=""/>
        <dsp:cNvSpPr/>
      </dsp:nvSpPr>
      <dsp:spPr>
        <a:xfrm rot="19733857">
          <a:off x="7218390" y="1285255"/>
          <a:ext cx="1220461" cy="447404"/>
        </a:xfrm>
        <a:prstGeom prst="ellipse">
          <a:avLst/>
        </a:prstGeom>
        <a:solidFill>
          <a:schemeClr val="accent3">
            <a:alpha val="50000"/>
            <a:hueOff val="353556"/>
            <a:satOff val="13043"/>
            <a:lumOff val="-19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KOLS </a:t>
          </a:r>
          <a:r>
            <a:rPr lang="nb-NO" sz="1000" b="1" kern="1200" dirty="0" err="1" smtClean="0"/>
            <a:t>rehab</a:t>
          </a:r>
          <a:endParaRPr lang="nb-NO" sz="1000" b="1" kern="1200" dirty="0"/>
        </a:p>
      </dsp:txBody>
      <dsp:txXfrm>
        <a:off x="7397122" y="1350776"/>
        <a:ext cx="862997" cy="316362"/>
      </dsp:txXfrm>
    </dsp:sp>
    <dsp:sp modelId="{394967EA-F0BE-408E-B1FF-661A9F6C6EFD}">
      <dsp:nvSpPr>
        <dsp:cNvPr id="0" name=""/>
        <dsp:cNvSpPr/>
      </dsp:nvSpPr>
      <dsp:spPr>
        <a:xfrm rot="20145049">
          <a:off x="7454605" y="1409261"/>
          <a:ext cx="1984956" cy="518273"/>
        </a:xfrm>
        <a:prstGeom prst="ellipse">
          <a:avLst/>
        </a:prstGeom>
        <a:solidFill>
          <a:schemeClr val="accent3">
            <a:alpha val="50000"/>
            <a:hueOff val="412482"/>
            <a:satOff val="15217"/>
            <a:lumOff val="-223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Smerte </a:t>
          </a:r>
          <a:r>
            <a:rPr lang="nb-NO" sz="1000" b="1" kern="1200" dirty="0" err="1" smtClean="0"/>
            <a:t>rehab</a:t>
          </a:r>
          <a:endParaRPr lang="nb-NO" sz="1000" b="1" kern="1200" dirty="0"/>
        </a:p>
      </dsp:txBody>
      <dsp:txXfrm>
        <a:off x="7745295" y="1485160"/>
        <a:ext cx="1403576" cy="366475"/>
      </dsp:txXfrm>
    </dsp:sp>
    <dsp:sp modelId="{B4227AB9-2AD5-4D86-BC4F-74ACE9AB91F5}">
      <dsp:nvSpPr>
        <dsp:cNvPr id="0" name=""/>
        <dsp:cNvSpPr/>
      </dsp:nvSpPr>
      <dsp:spPr>
        <a:xfrm rot="20175859">
          <a:off x="7577915" y="1779415"/>
          <a:ext cx="2126181" cy="518273"/>
        </a:xfrm>
        <a:prstGeom prst="ellipse">
          <a:avLst/>
        </a:prstGeom>
        <a:solidFill>
          <a:schemeClr val="accent3">
            <a:alpha val="50000"/>
            <a:hueOff val="471409"/>
            <a:satOff val="17391"/>
            <a:lumOff val="-255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diabetes</a:t>
          </a:r>
          <a:endParaRPr lang="nb-NO" sz="1000" b="1" kern="1200" dirty="0"/>
        </a:p>
      </dsp:txBody>
      <dsp:txXfrm>
        <a:off x="7889287" y="1855314"/>
        <a:ext cx="1503437" cy="366475"/>
      </dsp:txXfrm>
    </dsp:sp>
    <dsp:sp modelId="{2EE51203-5D2A-4C58-A136-C8511EBD86CC}">
      <dsp:nvSpPr>
        <dsp:cNvPr id="0" name=""/>
        <dsp:cNvSpPr/>
      </dsp:nvSpPr>
      <dsp:spPr>
        <a:xfrm rot="20203737">
          <a:off x="7825600" y="1979546"/>
          <a:ext cx="2714696" cy="694211"/>
        </a:xfrm>
        <a:prstGeom prst="ellipse">
          <a:avLst/>
        </a:prstGeom>
        <a:solidFill>
          <a:schemeClr val="accent3">
            <a:alpha val="50000"/>
            <a:hueOff val="530335"/>
            <a:satOff val="19565"/>
            <a:lumOff val="-28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Opplæring diabetes besteforeldre, tanter, onkler </a:t>
          </a:r>
          <a:r>
            <a:rPr lang="nb-NO" sz="1000" b="1" kern="1200" dirty="0" err="1" smtClean="0"/>
            <a:t>osv</a:t>
          </a:r>
          <a:r>
            <a:rPr lang="nb-NO" sz="1000" b="1" kern="1200" dirty="0" smtClean="0"/>
            <a:t>  </a:t>
          </a:r>
          <a:endParaRPr lang="nb-NO" sz="1000" b="1" kern="1200" dirty="0"/>
        </a:p>
      </dsp:txBody>
      <dsp:txXfrm>
        <a:off x="8223158" y="2081211"/>
        <a:ext cx="1919580" cy="490881"/>
      </dsp:txXfrm>
    </dsp:sp>
    <dsp:sp modelId="{0EC7CF5E-26B2-4758-829B-7259D20F946E}">
      <dsp:nvSpPr>
        <dsp:cNvPr id="0" name=""/>
        <dsp:cNvSpPr/>
      </dsp:nvSpPr>
      <dsp:spPr>
        <a:xfrm rot="20686869">
          <a:off x="7903491" y="2492772"/>
          <a:ext cx="2697826" cy="725484"/>
        </a:xfrm>
        <a:prstGeom prst="ellipse">
          <a:avLst/>
        </a:prstGeom>
        <a:solidFill>
          <a:schemeClr val="accent3">
            <a:alpha val="50000"/>
            <a:hueOff val="589261"/>
            <a:satOff val="21739"/>
            <a:lumOff val="-319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Opplæring diabetes </a:t>
          </a:r>
          <a:r>
            <a:rPr lang="nb-NO" sz="1000" b="1" kern="1200" dirty="0" err="1" smtClean="0"/>
            <a:t>lærarar</a:t>
          </a:r>
          <a:r>
            <a:rPr lang="nb-NO" sz="1000" b="1" kern="1200" dirty="0" smtClean="0"/>
            <a:t>/</a:t>
          </a:r>
          <a:r>
            <a:rPr lang="nb-NO" sz="1000" b="1" kern="1200" dirty="0" err="1" smtClean="0"/>
            <a:t>pedagogar</a:t>
          </a:r>
          <a:endParaRPr lang="nb-NO" sz="1000" b="1" kern="1200" dirty="0"/>
        </a:p>
      </dsp:txBody>
      <dsp:txXfrm>
        <a:off x="8298578" y="2599017"/>
        <a:ext cx="1907652" cy="512994"/>
      </dsp:txXfrm>
    </dsp:sp>
    <dsp:sp modelId="{6AEF1381-053A-40B7-A728-73BE17EEEC00}">
      <dsp:nvSpPr>
        <dsp:cNvPr id="0" name=""/>
        <dsp:cNvSpPr/>
      </dsp:nvSpPr>
      <dsp:spPr>
        <a:xfrm rot="21046346">
          <a:off x="7949555" y="3013408"/>
          <a:ext cx="2731628" cy="518273"/>
        </a:xfrm>
        <a:prstGeom prst="ellipse">
          <a:avLst/>
        </a:prstGeom>
        <a:solidFill>
          <a:schemeClr val="accent3">
            <a:alpha val="50000"/>
            <a:hueOff val="648187"/>
            <a:satOff val="23913"/>
            <a:lumOff val="-351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IBM</a:t>
          </a:r>
          <a:endParaRPr lang="nb-NO" sz="1000" b="1" kern="1200" dirty="0"/>
        </a:p>
      </dsp:txBody>
      <dsp:txXfrm>
        <a:off x="8349593" y="3089307"/>
        <a:ext cx="1931552" cy="366475"/>
      </dsp:txXfrm>
    </dsp:sp>
    <dsp:sp modelId="{23B0E3E3-3A9F-4A2A-B338-B1F5E0360EE4}">
      <dsp:nvSpPr>
        <dsp:cNvPr id="0" name=""/>
        <dsp:cNvSpPr/>
      </dsp:nvSpPr>
      <dsp:spPr>
        <a:xfrm rot="21261566">
          <a:off x="8024014" y="3483200"/>
          <a:ext cx="2592420" cy="434489"/>
        </a:xfrm>
        <a:prstGeom prst="ellipse">
          <a:avLst/>
        </a:prstGeom>
        <a:solidFill>
          <a:schemeClr val="accent3">
            <a:alpha val="50000"/>
            <a:hueOff val="707113"/>
            <a:satOff val="26087"/>
            <a:lumOff val="-383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Cøliaki</a:t>
          </a:r>
          <a:endParaRPr lang="nb-NO" sz="1000" b="1" kern="1200" dirty="0"/>
        </a:p>
      </dsp:txBody>
      <dsp:txXfrm>
        <a:off x="8403665" y="3546829"/>
        <a:ext cx="1833118" cy="307231"/>
      </dsp:txXfrm>
    </dsp:sp>
    <dsp:sp modelId="{5D6523B0-6A48-45D9-8AD2-E88DD73A7AB2}">
      <dsp:nvSpPr>
        <dsp:cNvPr id="0" name=""/>
        <dsp:cNvSpPr/>
      </dsp:nvSpPr>
      <dsp:spPr>
        <a:xfrm>
          <a:off x="7983622" y="3867431"/>
          <a:ext cx="3065443" cy="518273"/>
        </a:xfrm>
        <a:prstGeom prst="ellipse">
          <a:avLst/>
        </a:prstGeom>
        <a:solidFill>
          <a:schemeClr val="accent3">
            <a:alpha val="50000"/>
            <a:hueOff val="766039"/>
            <a:satOff val="28261"/>
            <a:lumOff val="-415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Temakveldar</a:t>
          </a:r>
          <a:r>
            <a:rPr lang="nb-NO" sz="1000" b="1" kern="1200" dirty="0" smtClean="0"/>
            <a:t> Psykisk helsevern</a:t>
          </a:r>
          <a:endParaRPr lang="nb-NO" sz="1000" b="1" kern="1200" dirty="0"/>
        </a:p>
      </dsp:txBody>
      <dsp:txXfrm>
        <a:off x="8432546" y="3943330"/>
        <a:ext cx="2167595" cy="366475"/>
      </dsp:txXfrm>
    </dsp:sp>
    <dsp:sp modelId="{B87D26D0-0EED-4369-B006-296832C578A3}">
      <dsp:nvSpPr>
        <dsp:cNvPr id="0" name=""/>
        <dsp:cNvSpPr/>
      </dsp:nvSpPr>
      <dsp:spPr>
        <a:xfrm>
          <a:off x="7914115" y="4185407"/>
          <a:ext cx="2973999" cy="518273"/>
        </a:xfrm>
        <a:prstGeom prst="ellipse">
          <a:avLst/>
        </a:prstGeom>
        <a:solidFill>
          <a:schemeClr val="accent3">
            <a:alpha val="50000"/>
            <a:hueOff val="824965"/>
            <a:satOff val="30435"/>
            <a:lumOff val="-44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Pårørandesamlingar</a:t>
          </a:r>
          <a:r>
            <a:rPr lang="nb-NO" sz="1000" b="1" kern="1200" dirty="0" smtClean="0"/>
            <a:t> psykisk helsevern </a:t>
          </a:r>
          <a:endParaRPr lang="nb-NO" sz="1000" b="1" kern="1200" dirty="0"/>
        </a:p>
      </dsp:txBody>
      <dsp:txXfrm>
        <a:off x="8349647" y="4261306"/>
        <a:ext cx="2102935" cy="366475"/>
      </dsp:txXfrm>
    </dsp:sp>
    <dsp:sp modelId="{778CBD5D-CCA5-490B-BCBD-8ECBE3D06FDE}">
      <dsp:nvSpPr>
        <dsp:cNvPr id="0" name=""/>
        <dsp:cNvSpPr/>
      </dsp:nvSpPr>
      <dsp:spPr>
        <a:xfrm>
          <a:off x="7550460" y="4540044"/>
          <a:ext cx="3151746" cy="544005"/>
        </a:xfrm>
        <a:prstGeom prst="ellipse">
          <a:avLst/>
        </a:prstGeom>
        <a:solidFill>
          <a:schemeClr val="accent3">
            <a:alpha val="50000"/>
            <a:hueOff val="883891"/>
            <a:satOff val="32609"/>
            <a:lumOff val="-479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Møteplass Landsforeningen for </a:t>
          </a:r>
          <a:r>
            <a:rPr lang="nb-NO" sz="1000" b="1" kern="1200" dirty="0" err="1" smtClean="0"/>
            <a:t>pårørande</a:t>
          </a:r>
          <a:r>
            <a:rPr lang="nb-NO" sz="1000" b="1" kern="1200" dirty="0" smtClean="0"/>
            <a:t> innen psykisk helsevern (LPP)</a:t>
          </a:r>
          <a:endParaRPr lang="nb-NO" sz="1000" b="1" kern="1200" dirty="0"/>
        </a:p>
      </dsp:txBody>
      <dsp:txXfrm>
        <a:off x="8012023" y="4619712"/>
        <a:ext cx="2228620" cy="384669"/>
      </dsp:txXfrm>
    </dsp:sp>
    <dsp:sp modelId="{95BB4986-CBEA-4367-A54F-F2EF252D0402}">
      <dsp:nvSpPr>
        <dsp:cNvPr id="0" name=""/>
        <dsp:cNvSpPr/>
      </dsp:nvSpPr>
      <dsp:spPr>
        <a:xfrm>
          <a:off x="7575640" y="4913641"/>
          <a:ext cx="2812639" cy="402776"/>
        </a:xfrm>
        <a:prstGeom prst="ellipse">
          <a:avLst/>
        </a:prstGeom>
        <a:solidFill>
          <a:schemeClr val="accent3">
            <a:alpha val="50000"/>
            <a:hueOff val="942817"/>
            <a:satOff val="34783"/>
            <a:lumOff val="-511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Antikoaglasjon</a:t>
          </a:r>
          <a:r>
            <a:rPr lang="nb-NO" sz="1000" b="1" kern="1200" dirty="0" smtClean="0"/>
            <a:t> (INR) </a:t>
          </a:r>
          <a:endParaRPr lang="nb-NO" sz="1000" b="1" kern="1200" dirty="0"/>
        </a:p>
      </dsp:txBody>
      <dsp:txXfrm>
        <a:off x="7987541" y="4972626"/>
        <a:ext cx="1988837" cy="284806"/>
      </dsp:txXfrm>
    </dsp:sp>
    <dsp:sp modelId="{54CA3B0E-151B-47CF-9534-03B4D8B4E117}">
      <dsp:nvSpPr>
        <dsp:cNvPr id="0" name=""/>
        <dsp:cNvSpPr/>
      </dsp:nvSpPr>
      <dsp:spPr>
        <a:xfrm rot="473750">
          <a:off x="7512602" y="5211130"/>
          <a:ext cx="2349334" cy="518273"/>
        </a:xfrm>
        <a:prstGeom prst="ellipse">
          <a:avLst/>
        </a:prstGeom>
        <a:solidFill>
          <a:schemeClr val="accent3">
            <a:alpha val="50000"/>
            <a:hueOff val="1001743"/>
            <a:satOff val="36957"/>
            <a:lumOff val="-54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Tinnitus</a:t>
          </a:r>
          <a:r>
            <a:rPr lang="nb-NO" sz="1000" b="1" kern="1200" dirty="0" smtClean="0"/>
            <a:t> 1og 2</a:t>
          </a:r>
          <a:endParaRPr lang="nb-NO" sz="1000" b="1" kern="1200" dirty="0"/>
        </a:p>
      </dsp:txBody>
      <dsp:txXfrm>
        <a:off x="7856654" y="5287029"/>
        <a:ext cx="1661230" cy="366475"/>
      </dsp:txXfrm>
    </dsp:sp>
    <dsp:sp modelId="{BBF31471-3CD4-4563-9EDE-05B0F358A5DA}">
      <dsp:nvSpPr>
        <dsp:cNvPr id="0" name=""/>
        <dsp:cNvSpPr/>
      </dsp:nvSpPr>
      <dsp:spPr>
        <a:xfrm rot="1313684">
          <a:off x="7280538" y="5487989"/>
          <a:ext cx="2537913" cy="518273"/>
        </a:xfrm>
        <a:prstGeom prst="ellipse">
          <a:avLst/>
        </a:prstGeom>
        <a:solidFill>
          <a:schemeClr val="accent3">
            <a:alpha val="50000"/>
            <a:hueOff val="1060669"/>
            <a:satOff val="39130"/>
            <a:lumOff val="-57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Høyreapparat</a:t>
          </a:r>
          <a:endParaRPr lang="nb-NO" sz="1000" b="1" kern="1200" dirty="0"/>
        </a:p>
      </dsp:txBody>
      <dsp:txXfrm>
        <a:off x="7652207" y="5563888"/>
        <a:ext cx="1794575" cy="366475"/>
      </dsp:txXfrm>
    </dsp:sp>
    <dsp:sp modelId="{74566187-58D7-4D8D-8BB4-520750DB166D}">
      <dsp:nvSpPr>
        <dsp:cNvPr id="0" name=""/>
        <dsp:cNvSpPr/>
      </dsp:nvSpPr>
      <dsp:spPr>
        <a:xfrm rot="1733427">
          <a:off x="6882036" y="5734127"/>
          <a:ext cx="2532067" cy="518273"/>
        </a:xfrm>
        <a:prstGeom prst="ellipse">
          <a:avLst/>
        </a:prstGeom>
        <a:solidFill>
          <a:schemeClr val="accent3">
            <a:alpha val="50000"/>
            <a:hueOff val="1119595"/>
            <a:satOff val="41304"/>
            <a:lumOff val="-607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Nyreskule</a:t>
          </a:r>
          <a:endParaRPr lang="nb-NO" sz="1000" b="1" kern="1200" dirty="0"/>
        </a:p>
      </dsp:txBody>
      <dsp:txXfrm>
        <a:off x="7252849" y="5810026"/>
        <a:ext cx="1790441" cy="366475"/>
      </dsp:txXfrm>
    </dsp:sp>
    <dsp:sp modelId="{565CFA98-EDFA-42FD-B821-3E5674644356}">
      <dsp:nvSpPr>
        <dsp:cNvPr id="0" name=""/>
        <dsp:cNvSpPr/>
      </dsp:nvSpPr>
      <dsp:spPr>
        <a:xfrm rot="1587182">
          <a:off x="6748877" y="5833501"/>
          <a:ext cx="2139682" cy="518273"/>
        </a:xfrm>
        <a:prstGeom prst="ellipse">
          <a:avLst/>
        </a:prstGeom>
        <a:solidFill>
          <a:schemeClr val="accent3">
            <a:alpha val="50000"/>
            <a:hueOff val="1178521"/>
            <a:satOff val="43478"/>
            <a:lumOff val="-639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Prekurs</a:t>
          </a:r>
          <a:r>
            <a:rPr lang="nb-NO" sz="1000" b="1" kern="1200" dirty="0" smtClean="0"/>
            <a:t> overvekt</a:t>
          </a:r>
          <a:endParaRPr lang="nb-NO" sz="1000" b="1" kern="1200" dirty="0"/>
        </a:p>
      </dsp:txBody>
      <dsp:txXfrm>
        <a:off x="7062226" y="5909400"/>
        <a:ext cx="1512984" cy="366475"/>
      </dsp:txXfrm>
    </dsp:sp>
    <dsp:sp modelId="{9B4C0548-5417-404F-9FA0-F4085EA89E66}">
      <dsp:nvSpPr>
        <dsp:cNvPr id="0" name=""/>
        <dsp:cNvSpPr/>
      </dsp:nvSpPr>
      <dsp:spPr>
        <a:xfrm rot="1861698">
          <a:off x="6536193" y="5842872"/>
          <a:ext cx="1502527" cy="336110"/>
        </a:xfrm>
        <a:prstGeom prst="ellipse">
          <a:avLst/>
        </a:prstGeom>
        <a:solidFill>
          <a:schemeClr val="accent3">
            <a:alpha val="50000"/>
            <a:hueOff val="1237447"/>
            <a:satOff val="45652"/>
            <a:lumOff val="-67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Oppfølging overvekt</a:t>
          </a:r>
          <a:endParaRPr lang="nb-NO" sz="1000" b="1" kern="1200" dirty="0"/>
        </a:p>
      </dsp:txBody>
      <dsp:txXfrm>
        <a:off x="6756233" y="5892094"/>
        <a:ext cx="1062447" cy="237666"/>
      </dsp:txXfrm>
    </dsp:sp>
    <dsp:sp modelId="{E2F1C84B-E117-425E-8EF8-7F0056ECE0AC}">
      <dsp:nvSpPr>
        <dsp:cNvPr id="0" name=""/>
        <dsp:cNvSpPr/>
      </dsp:nvSpPr>
      <dsp:spPr>
        <a:xfrm rot="1884352">
          <a:off x="6159347" y="6054643"/>
          <a:ext cx="2084962" cy="266745"/>
        </a:xfrm>
        <a:prstGeom prst="ellipse">
          <a:avLst/>
        </a:prstGeom>
        <a:solidFill>
          <a:schemeClr val="accent3">
            <a:alpha val="50000"/>
            <a:hueOff val="1296373"/>
            <a:satOff val="47826"/>
            <a:lumOff val="-703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Epilepsi</a:t>
          </a:r>
          <a:endParaRPr lang="nb-NO" sz="1000" b="1" kern="1200" dirty="0"/>
        </a:p>
      </dsp:txBody>
      <dsp:txXfrm>
        <a:off x="6464683" y="6093707"/>
        <a:ext cx="1474290" cy="188617"/>
      </dsp:txXfrm>
    </dsp:sp>
    <dsp:sp modelId="{7FEAB518-E4DE-488E-904C-2B3AAF7C9A0E}">
      <dsp:nvSpPr>
        <dsp:cNvPr id="0" name=""/>
        <dsp:cNvSpPr/>
      </dsp:nvSpPr>
      <dsp:spPr>
        <a:xfrm rot="3329651">
          <a:off x="5739952" y="5849499"/>
          <a:ext cx="900173" cy="556708"/>
        </a:xfrm>
        <a:prstGeom prst="ellipse">
          <a:avLst/>
        </a:prstGeom>
        <a:solidFill>
          <a:schemeClr val="accent3">
            <a:alpha val="50000"/>
            <a:hueOff val="1355300"/>
            <a:satOff val="50000"/>
            <a:lumOff val="-735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Starthjelp </a:t>
          </a:r>
          <a:endParaRPr lang="nb-NO" sz="1000" b="1" kern="1200" dirty="0"/>
        </a:p>
      </dsp:txBody>
      <dsp:txXfrm>
        <a:off x="5871779" y="5931027"/>
        <a:ext cx="636519" cy="393652"/>
      </dsp:txXfrm>
    </dsp:sp>
    <dsp:sp modelId="{809D534D-C9D5-4502-8663-DF53AD809978}">
      <dsp:nvSpPr>
        <dsp:cNvPr id="0" name=""/>
        <dsp:cNvSpPr/>
      </dsp:nvSpPr>
      <dsp:spPr>
        <a:xfrm rot="18260645">
          <a:off x="4330503" y="5808804"/>
          <a:ext cx="1252294" cy="501948"/>
        </a:xfrm>
        <a:prstGeom prst="ellipse">
          <a:avLst/>
        </a:prstGeom>
        <a:solidFill>
          <a:schemeClr val="accent3">
            <a:alpha val="50000"/>
            <a:hueOff val="1414226"/>
            <a:satOff val="52174"/>
            <a:lumOff val="-767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Utviklings-hemning</a:t>
          </a:r>
          <a:endParaRPr lang="nb-NO" sz="1000" b="1" kern="1200" dirty="0"/>
        </a:p>
      </dsp:txBody>
      <dsp:txXfrm>
        <a:off x="4513897" y="5882313"/>
        <a:ext cx="885506" cy="354930"/>
      </dsp:txXfrm>
    </dsp:sp>
    <dsp:sp modelId="{9F813910-02D8-46BB-B013-4E1E1B0FAF9C}">
      <dsp:nvSpPr>
        <dsp:cNvPr id="0" name=""/>
        <dsp:cNvSpPr/>
      </dsp:nvSpPr>
      <dsp:spPr>
        <a:xfrm rot="2234553">
          <a:off x="6004270" y="6025557"/>
          <a:ext cx="1906884" cy="590479"/>
        </a:xfrm>
        <a:prstGeom prst="ellipse">
          <a:avLst/>
        </a:prstGeom>
        <a:solidFill>
          <a:schemeClr val="accent3">
            <a:alpha val="50000"/>
            <a:hueOff val="1473152"/>
            <a:satOff val="54348"/>
            <a:lumOff val="-799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Cøliaki for </a:t>
          </a:r>
          <a:r>
            <a:rPr lang="nb-NO" sz="1000" b="1" kern="1200" dirty="0" err="1" smtClean="0"/>
            <a:t>lærarar</a:t>
          </a:r>
          <a:r>
            <a:rPr lang="nb-NO" sz="1000" b="1" kern="1200" dirty="0" smtClean="0"/>
            <a:t> og andre</a:t>
          </a:r>
          <a:endParaRPr lang="nb-NO" sz="1000" b="1" kern="1200" dirty="0"/>
        </a:p>
      </dsp:txBody>
      <dsp:txXfrm>
        <a:off x="6283527" y="6112031"/>
        <a:ext cx="1348370" cy="417531"/>
      </dsp:txXfrm>
    </dsp:sp>
    <dsp:sp modelId="{B4C6B50C-9B3E-44CF-93E4-6AF815B6A993}">
      <dsp:nvSpPr>
        <dsp:cNvPr id="0" name=""/>
        <dsp:cNvSpPr/>
      </dsp:nvSpPr>
      <dsp:spPr>
        <a:xfrm rot="17204397">
          <a:off x="4870785" y="5849942"/>
          <a:ext cx="1371486" cy="674533"/>
        </a:xfrm>
        <a:prstGeom prst="ellipse">
          <a:avLst/>
        </a:prstGeom>
        <a:solidFill>
          <a:schemeClr val="accent3">
            <a:alpha val="50000"/>
            <a:hueOff val="1532078"/>
            <a:satOff val="56522"/>
            <a:lumOff val="-831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IBS – irritable </a:t>
          </a:r>
          <a:r>
            <a:rPr lang="nb-NO" sz="1000" b="1" kern="1200" dirty="0" err="1" smtClean="0"/>
            <a:t>bowel</a:t>
          </a:r>
          <a:r>
            <a:rPr lang="nb-NO" sz="1000" b="1" kern="1200" dirty="0" smtClean="0"/>
            <a:t> syndrom</a:t>
          </a:r>
          <a:endParaRPr lang="nb-NO" sz="1000" b="1" kern="1200" dirty="0"/>
        </a:p>
      </dsp:txBody>
      <dsp:txXfrm>
        <a:off x="5071634" y="5948725"/>
        <a:ext cx="969788" cy="476967"/>
      </dsp:txXfrm>
    </dsp:sp>
    <dsp:sp modelId="{7B54669E-C5F2-4AD1-A27C-341D889B56AF}">
      <dsp:nvSpPr>
        <dsp:cNvPr id="0" name=""/>
        <dsp:cNvSpPr/>
      </dsp:nvSpPr>
      <dsp:spPr>
        <a:xfrm rot="19177069">
          <a:off x="2916471" y="5507117"/>
          <a:ext cx="1931222" cy="358349"/>
        </a:xfrm>
        <a:prstGeom prst="ellipse">
          <a:avLst/>
        </a:prstGeom>
        <a:solidFill>
          <a:schemeClr val="accent3">
            <a:alpha val="50000"/>
            <a:hueOff val="1591004"/>
            <a:satOff val="58696"/>
            <a:lumOff val="-863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ME</a:t>
          </a:r>
          <a:endParaRPr lang="nb-NO" sz="1000" b="1" kern="1200" dirty="0"/>
        </a:p>
      </dsp:txBody>
      <dsp:txXfrm>
        <a:off x="3199292" y="5559596"/>
        <a:ext cx="1365580" cy="253391"/>
      </dsp:txXfrm>
    </dsp:sp>
    <dsp:sp modelId="{817E8A14-5281-4840-A0EA-4D690F75A419}">
      <dsp:nvSpPr>
        <dsp:cNvPr id="0" name=""/>
        <dsp:cNvSpPr/>
      </dsp:nvSpPr>
      <dsp:spPr>
        <a:xfrm rot="18710135">
          <a:off x="4051697" y="5759268"/>
          <a:ext cx="1120968" cy="285076"/>
        </a:xfrm>
        <a:prstGeom prst="ellipse">
          <a:avLst/>
        </a:prstGeom>
        <a:solidFill>
          <a:schemeClr val="accent3">
            <a:alpha val="50000"/>
            <a:hueOff val="1649930"/>
            <a:satOff val="60870"/>
            <a:lumOff val="-895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Heilt sjef</a:t>
          </a:r>
          <a:endParaRPr lang="nb-NO" sz="1000" b="1" kern="1200" dirty="0"/>
        </a:p>
      </dsp:txBody>
      <dsp:txXfrm>
        <a:off x="4215859" y="5801016"/>
        <a:ext cx="792644" cy="201580"/>
      </dsp:txXfrm>
    </dsp:sp>
    <dsp:sp modelId="{4A77B030-66AC-4A47-8A4F-FDBA06E89660}">
      <dsp:nvSpPr>
        <dsp:cNvPr id="0" name=""/>
        <dsp:cNvSpPr/>
      </dsp:nvSpPr>
      <dsp:spPr>
        <a:xfrm rot="19076481">
          <a:off x="3501825" y="5649021"/>
          <a:ext cx="1444666" cy="408435"/>
        </a:xfrm>
        <a:prstGeom prst="ellipse">
          <a:avLst/>
        </a:prstGeom>
        <a:solidFill>
          <a:schemeClr val="accent3">
            <a:alpha val="50000"/>
            <a:hueOff val="1708856"/>
            <a:satOff val="63043"/>
            <a:lumOff val="-92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Barn: Astma</a:t>
          </a:r>
          <a:endParaRPr lang="nb-NO" sz="1000" b="1" kern="1200" dirty="0"/>
        </a:p>
      </dsp:txBody>
      <dsp:txXfrm>
        <a:off x="3713391" y="5708835"/>
        <a:ext cx="1021534" cy="288807"/>
      </dsp:txXfrm>
    </dsp:sp>
    <dsp:sp modelId="{397B2F7C-2748-4958-A655-A0351C0432DA}">
      <dsp:nvSpPr>
        <dsp:cNvPr id="0" name=""/>
        <dsp:cNvSpPr/>
      </dsp:nvSpPr>
      <dsp:spPr>
        <a:xfrm rot="19886414">
          <a:off x="2423939" y="5286969"/>
          <a:ext cx="2352034" cy="371120"/>
        </a:xfrm>
        <a:prstGeom prst="ellipse">
          <a:avLst/>
        </a:prstGeom>
        <a:solidFill>
          <a:schemeClr val="accent3">
            <a:alpha val="50000"/>
            <a:hueOff val="1767782"/>
            <a:satOff val="65217"/>
            <a:lumOff val="-959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Osteoporose</a:t>
          </a:r>
          <a:endParaRPr lang="nb-NO" sz="1000" b="1" kern="1200" dirty="0"/>
        </a:p>
      </dsp:txBody>
      <dsp:txXfrm>
        <a:off x="2768386" y="5341318"/>
        <a:ext cx="1663140" cy="262422"/>
      </dsp:txXfrm>
    </dsp:sp>
    <dsp:sp modelId="{B25E49EA-0D78-4746-B12A-7766D2853F4A}">
      <dsp:nvSpPr>
        <dsp:cNvPr id="0" name=""/>
        <dsp:cNvSpPr/>
      </dsp:nvSpPr>
      <dsp:spPr>
        <a:xfrm rot="20002953">
          <a:off x="1642563" y="5193901"/>
          <a:ext cx="2859906" cy="399464"/>
        </a:xfrm>
        <a:prstGeom prst="ellipse">
          <a:avLst/>
        </a:prstGeom>
        <a:solidFill>
          <a:schemeClr val="accent3">
            <a:alpha val="50000"/>
            <a:hueOff val="1826708"/>
            <a:satOff val="67391"/>
            <a:lumOff val="-991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Småleddsarthose</a:t>
          </a:r>
          <a:endParaRPr lang="nb-NO" sz="1000" b="1" kern="1200" dirty="0"/>
        </a:p>
      </dsp:txBody>
      <dsp:txXfrm>
        <a:off x="2061387" y="5252401"/>
        <a:ext cx="2022258" cy="282464"/>
      </dsp:txXfrm>
    </dsp:sp>
    <dsp:sp modelId="{33543456-24C9-4B75-8F78-9F285862A208}">
      <dsp:nvSpPr>
        <dsp:cNvPr id="0" name=""/>
        <dsp:cNvSpPr/>
      </dsp:nvSpPr>
      <dsp:spPr>
        <a:xfrm rot="19925736">
          <a:off x="1552628" y="4780695"/>
          <a:ext cx="2805897" cy="518273"/>
        </a:xfrm>
        <a:prstGeom prst="ellipse">
          <a:avLst/>
        </a:prstGeom>
        <a:solidFill>
          <a:schemeClr val="accent3">
            <a:alpha val="50000"/>
            <a:hueOff val="1885634"/>
            <a:satOff val="69565"/>
            <a:lumOff val="-1023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Spondylartritt</a:t>
          </a:r>
          <a:endParaRPr lang="nb-NO" sz="1000" b="1" kern="1200" dirty="0"/>
        </a:p>
      </dsp:txBody>
      <dsp:txXfrm>
        <a:off x="1963542" y="4856594"/>
        <a:ext cx="1984069" cy="366475"/>
      </dsp:txXfrm>
    </dsp:sp>
    <dsp:sp modelId="{38D7FF6F-970E-42F0-9087-E392FBF0646A}">
      <dsp:nvSpPr>
        <dsp:cNvPr id="0" name=""/>
        <dsp:cNvSpPr/>
      </dsp:nvSpPr>
      <dsp:spPr>
        <a:xfrm rot="20231428">
          <a:off x="1454886" y="4471274"/>
          <a:ext cx="2688513" cy="518273"/>
        </a:xfrm>
        <a:prstGeom prst="ellipse">
          <a:avLst/>
        </a:prstGeom>
        <a:solidFill>
          <a:schemeClr val="accent3">
            <a:alpha val="50000"/>
            <a:hueOff val="1944560"/>
            <a:satOff val="71739"/>
            <a:lumOff val="-1055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Grønn </a:t>
          </a:r>
          <a:r>
            <a:rPr lang="nb-NO" sz="1000" b="1" kern="1200" dirty="0" err="1" smtClean="0"/>
            <a:t>stær</a:t>
          </a:r>
          <a:endParaRPr lang="nb-NO" sz="1000" b="1" kern="1200" dirty="0"/>
        </a:p>
      </dsp:txBody>
      <dsp:txXfrm>
        <a:off x="1848610" y="4547173"/>
        <a:ext cx="1901065" cy="366475"/>
      </dsp:txXfrm>
    </dsp:sp>
    <dsp:sp modelId="{628B43E3-A5FC-4B4E-AEA0-A88CCEEA98C7}">
      <dsp:nvSpPr>
        <dsp:cNvPr id="0" name=""/>
        <dsp:cNvSpPr/>
      </dsp:nvSpPr>
      <dsp:spPr>
        <a:xfrm rot="20655660">
          <a:off x="1315692" y="4189169"/>
          <a:ext cx="2654659" cy="518273"/>
        </a:xfrm>
        <a:prstGeom prst="ellipse">
          <a:avLst/>
        </a:prstGeom>
        <a:solidFill>
          <a:schemeClr val="accent3">
            <a:alpha val="50000"/>
            <a:hueOff val="2003486"/>
            <a:satOff val="73913"/>
            <a:lumOff val="-1087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Multippel sklerose</a:t>
          </a:r>
          <a:endParaRPr lang="nb-NO" sz="1000" b="1" kern="1200" dirty="0"/>
        </a:p>
      </dsp:txBody>
      <dsp:txXfrm>
        <a:off x="1704458" y="4265068"/>
        <a:ext cx="1877127" cy="366475"/>
      </dsp:txXfrm>
    </dsp:sp>
    <dsp:sp modelId="{AFB3AFFD-1988-48E7-A3CB-EB0327EAF83E}">
      <dsp:nvSpPr>
        <dsp:cNvPr id="0" name=""/>
        <dsp:cNvSpPr/>
      </dsp:nvSpPr>
      <dsp:spPr>
        <a:xfrm rot="20783396">
          <a:off x="1115699" y="3875052"/>
          <a:ext cx="2642594" cy="518273"/>
        </a:xfrm>
        <a:prstGeom prst="ellipse">
          <a:avLst/>
        </a:prstGeom>
        <a:solidFill>
          <a:schemeClr val="accent3">
            <a:alpha val="50000"/>
            <a:hueOff val="2062412"/>
            <a:satOff val="76087"/>
            <a:lumOff val="-1118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Parkinsson</a:t>
          </a:r>
          <a:endParaRPr lang="nb-NO" sz="1000" b="1" kern="1200" dirty="0"/>
        </a:p>
      </dsp:txBody>
      <dsp:txXfrm>
        <a:off x="1502698" y="3950951"/>
        <a:ext cx="1868596" cy="366475"/>
      </dsp:txXfrm>
    </dsp:sp>
    <dsp:sp modelId="{40399B9A-DD22-44E2-A463-B8E3EECF37B1}">
      <dsp:nvSpPr>
        <dsp:cNvPr id="0" name=""/>
        <dsp:cNvSpPr/>
      </dsp:nvSpPr>
      <dsp:spPr>
        <a:xfrm rot="20911367">
          <a:off x="976174" y="3471109"/>
          <a:ext cx="2818029" cy="518273"/>
        </a:xfrm>
        <a:prstGeom prst="ellipse">
          <a:avLst/>
        </a:prstGeom>
        <a:solidFill>
          <a:schemeClr val="accent3">
            <a:alpha val="50000"/>
            <a:hueOff val="2121338"/>
            <a:satOff val="78261"/>
            <a:lumOff val="-1150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Gruppebasert rehabilitering</a:t>
          </a:r>
          <a:endParaRPr lang="nb-NO" sz="1000" b="1" kern="1200" dirty="0"/>
        </a:p>
      </dsp:txBody>
      <dsp:txXfrm>
        <a:off x="1388865" y="3547008"/>
        <a:ext cx="1992647" cy="366475"/>
      </dsp:txXfrm>
    </dsp:sp>
    <dsp:sp modelId="{7EF6C888-262F-46DB-833F-C4C44761D17A}">
      <dsp:nvSpPr>
        <dsp:cNvPr id="0" name=""/>
        <dsp:cNvSpPr/>
      </dsp:nvSpPr>
      <dsp:spPr>
        <a:xfrm>
          <a:off x="586248" y="3019797"/>
          <a:ext cx="3319179" cy="518273"/>
        </a:xfrm>
        <a:prstGeom prst="ellipse">
          <a:avLst/>
        </a:prstGeom>
        <a:solidFill>
          <a:schemeClr val="accent3">
            <a:alpha val="50000"/>
            <a:hueOff val="2180265"/>
            <a:satOff val="80435"/>
            <a:lumOff val="-1182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Meistringskurs</a:t>
          </a:r>
          <a:r>
            <a:rPr lang="nb-NO" sz="1000" b="1" kern="1200" dirty="0" smtClean="0"/>
            <a:t> </a:t>
          </a:r>
          <a:r>
            <a:rPr lang="nb-NO" sz="1000" b="1" kern="1200" dirty="0" err="1" smtClean="0"/>
            <a:t>pasientar</a:t>
          </a:r>
          <a:r>
            <a:rPr lang="nb-NO" sz="1000" b="1" kern="1200" dirty="0" smtClean="0"/>
            <a:t> og </a:t>
          </a:r>
          <a:r>
            <a:rPr lang="nb-NO" sz="1000" b="1" kern="1200" dirty="0" err="1" smtClean="0"/>
            <a:t>pårørande</a:t>
          </a:r>
          <a:r>
            <a:rPr lang="nb-NO" sz="1000" b="1" kern="1200" dirty="0" smtClean="0"/>
            <a:t> kreft</a:t>
          </a:r>
          <a:endParaRPr lang="nb-NO" sz="1000" b="1" kern="1200" dirty="0"/>
        </a:p>
      </dsp:txBody>
      <dsp:txXfrm>
        <a:off x="1072331" y="3095696"/>
        <a:ext cx="2347013" cy="366475"/>
      </dsp:txXfrm>
    </dsp:sp>
    <dsp:sp modelId="{AAA7B1C7-3EE1-4FAE-A48E-CB388A7F5C79}">
      <dsp:nvSpPr>
        <dsp:cNvPr id="0" name=""/>
        <dsp:cNvSpPr/>
      </dsp:nvSpPr>
      <dsp:spPr>
        <a:xfrm>
          <a:off x="742793" y="2614074"/>
          <a:ext cx="3227155" cy="518273"/>
        </a:xfrm>
        <a:prstGeom prst="ellipse">
          <a:avLst/>
        </a:prstGeom>
        <a:solidFill>
          <a:schemeClr val="accent3">
            <a:alpha val="50000"/>
            <a:hueOff val="2239190"/>
            <a:satOff val="82609"/>
            <a:lumOff val="-1214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Livsstyrketrening</a:t>
          </a:r>
          <a:endParaRPr lang="nb-NO" sz="1000" b="1" kern="1200" dirty="0"/>
        </a:p>
      </dsp:txBody>
      <dsp:txXfrm>
        <a:off x="1215399" y="2689973"/>
        <a:ext cx="2281943" cy="366475"/>
      </dsp:txXfrm>
    </dsp:sp>
    <dsp:sp modelId="{2559363E-1A7B-4E40-BF5A-081647FED127}">
      <dsp:nvSpPr>
        <dsp:cNvPr id="0" name=""/>
        <dsp:cNvSpPr/>
      </dsp:nvSpPr>
      <dsp:spPr>
        <a:xfrm rot="850151">
          <a:off x="714323" y="2073898"/>
          <a:ext cx="3342388" cy="690045"/>
        </a:xfrm>
        <a:prstGeom prst="ellipse">
          <a:avLst/>
        </a:prstGeom>
        <a:solidFill>
          <a:schemeClr val="accent3">
            <a:alpha val="50000"/>
            <a:hueOff val="2298116"/>
            <a:satOff val="84783"/>
            <a:lumOff val="-1246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Nettverkssamling for </a:t>
          </a:r>
          <a:r>
            <a:rPr lang="nb-NO" sz="1000" b="1" kern="1200" smtClean="0"/>
            <a:t>oksygenbrukarar</a:t>
          </a:r>
          <a:endParaRPr lang="nb-NO" sz="1000" b="1" kern="1200" dirty="0"/>
        </a:p>
      </dsp:txBody>
      <dsp:txXfrm>
        <a:off x="1203804" y="2174953"/>
        <a:ext cx="2363426" cy="487935"/>
      </dsp:txXfrm>
    </dsp:sp>
    <dsp:sp modelId="{D727AF04-8903-4EE0-B8B6-300814D9B92E}">
      <dsp:nvSpPr>
        <dsp:cNvPr id="0" name=""/>
        <dsp:cNvSpPr/>
      </dsp:nvSpPr>
      <dsp:spPr>
        <a:xfrm rot="748579">
          <a:off x="1066432" y="1823658"/>
          <a:ext cx="3210093" cy="518273"/>
        </a:xfrm>
        <a:prstGeom prst="ellipse">
          <a:avLst/>
        </a:prstGeom>
        <a:solidFill>
          <a:schemeClr val="accent3">
            <a:alpha val="50000"/>
            <a:hueOff val="2357043"/>
            <a:satOff val="86957"/>
            <a:lumOff val="-1278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IBS – irritable </a:t>
          </a:r>
          <a:r>
            <a:rPr lang="nb-NO" sz="1000" b="1" kern="1200" dirty="0" err="1" smtClean="0"/>
            <a:t>bowel</a:t>
          </a:r>
          <a:r>
            <a:rPr lang="nb-NO" sz="1000" b="1" kern="1200" dirty="0" smtClean="0"/>
            <a:t> syndrom</a:t>
          </a:r>
          <a:endParaRPr lang="nb-NO" sz="1000" b="1" kern="1200" dirty="0"/>
        </a:p>
      </dsp:txBody>
      <dsp:txXfrm>
        <a:off x="1536539" y="1899557"/>
        <a:ext cx="2269879" cy="366475"/>
      </dsp:txXfrm>
    </dsp:sp>
    <dsp:sp modelId="{040EADA5-5F63-4F1D-BF6D-3BE7F78E3D63}">
      <dsp:nvSpPr>
        <dsp:cNvPr id="0" name=""/>
        <dsp:cNvSpPr/>
      </dsp:nvSpPr>
      <dsp:spPr>
        <a:xfrm rot="1536374">
          <a:off x="1395983" y="1484994"/>
          <a:ext cx="3016782" cy="518273"/>
        </a:xfrm>
        <a:prstGeom prst="ellipse">
          <a:avLst/>
        </a:prstGeom>
        <a:solidFill>
          <a:schemeClr val="accent3">
            <a:alpha val="50000"/>
            <a:hueOff val="2415969"/>
            <a:satOff val="89130"/>
            <a:lumOff val="-131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Revmatoid artritt </a:t>
          </a:r>
          <a:endParaRPr lang="nb-NO" sz="1000" b="1" kern="1200" dirty="0"/>
        </a:p>
      </dsp:txBody>
      <dsp:txXfrm>
        <a:off x="1837780" y="1560893"/>
        <a:ext cx="2133188" cy="366475"/>
      </dsp:txXfrm>
    </dsp:sp>
    <dsp:sp modelId="{3F9AFC8F-635F-4546-9C6C-8C9292D7F846}">
      <dsp:nvSpPr>
        <dsp:cNvPr id="0" name=""/>
        <dsp:cNvSpPr/>
      </dsp:nvSpPr>
      <dsp:spPr>
        <a:xfrm rot="1569468">
          <a:off x="2361801" y="1310503"/>
          <a:ext cx="2204735" cy="518273"/>
        </a:xfrm>
        <a:prstGeom prst="ellipse">
          <a:avLst/>
        </a:prstGeom>
        <a:solidFill>
          <a:schemeClr val="accent3">
            <a:alpha val="50000"/>
            <a:hueOff val="2474895"/>
            <a:satOff val="91304"/>
            <a:lumOff val="-1342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ADHD/ADD</a:t>
          </a:r>
          <a:endParaRPr lang="nb-NO" sz="1000" b="1" kern="1200" dirty="0"/>
        </a:p>
      </dsp:txBody>
      <dsp:txXfrm>
        <a:off x="2684677" y="1386402"/>
        <a:ext cx="1558983" cy="366475"/>
      </dsp:txXfrm>
    </dsp:sp>
    <dsp:sp modelId="{432E0981-22E5-4B83-9816-1049E31598D1}">
      <dsp:nvSpPr>
        <dsp:cNvPr id="0" name=""/>
        <dsp:cNvSpPr/>
      </dsp:nvSpPr>
      <dsp:spPr>
        <a:xfrm rot="1734070">
          <a:off x="2476188" y="1012049"/>
          <a:ext cx="2433279" cy="518273"/>
        </a:xfrm>
        <a:prstGeom prst="ellipse">
          <a:avLst/>
        </a:prstGeom>
        <a:solidFill>
          <a:schemeClr val="accent3">
            <a:alpha val="50000"/>
            <a:hueOff val="2533821"/>
            <a:satOff val="93478"/>
            <a:lumOff val="-1374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err="1" smtClean="0"/>
            <a:t>Asperger</a:t>
          </a:r>
          <a:r>
            <a:rPr lang="nb-NO" sz="1000" b="1" kern="1200" dirty="0" smtClean="0"/>
            <a:t> syndrom </a:t>
          </a:r>
          <a:endParaRPr lang="nb-NO" sz="1000" b="1" kern="1200" dirty="0"/>
        </a:p>
      </dsp:txBody>
      <dsp:txXfrm>
        <a:off x="2832533" y="1087948"/>
        <a:ext cx="1720589" cy="366475"/>
      </dsp:txXfrm>
    </dsp:sp>
    <dsp:sp modelId="{0DDC8712-617D-4CDE-B271-8E0ED2A97FD3}">
      <dsp:nvSpPr>
        <dsp:cNvPr id="0" name=""/>
        <dsp:cNvSpPr/>
      </dsp:nvSpPr>
      <dsp:spPr>
        <a:xfrm rot="2362434">
          <a:off x="3216925" y="961993"/>
          <a:ext cx="2013047" cy="518273"/>
        </a:xfrm>
        <a:prstGeom prst="ellipse">
          <a:avLst/>
        </a:prstGeom>
        <a:solidFill>
          <a:schemeClr val="accent3">
            <a:alpha val="50000"/>
            <a:hueOff val="2592747"/>
            <a:satOff val="95652"/>
            <a:lumOff val="-1406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De utrolige årene </a:t>
          </a:r>
          <a:endParaRPr lang="nb-NO" sz="1000" b="1" kern="1200" dirty="0"/>
        </a:p>
      </dsp:txBody>
      <dsp:txXfrm>
        <a:off x="3511729" y="1037892"/>
        <a:ext cx="1423439" cy="366475"/>
      </dsp:txXfrm>
    </dsp:sp>
    <dsp:sp modelId="{96755A41-C44F-48A7-BB1B-7166979A6280}">
      <dsp:nvSpPr>
        <dsp:cNvPr id="0" name=""/>
        <dsp:cNvSpPr/>
      </dsp:nvSpPr>
      <dsp:spPr>
        <a:xfrm rot="2204717">
          <a:off x="3507733" y="724260"/>
          <a:ext cx="2097214" cy="518273"/>
        </a:xfrm>
        <a:prstGeom prst="ellipse">
          <a:avLst/>
        </a:prstGeom>
        <a:solidFill>
          <a:schemeClr val="accent3">
            <a:alpha val="50000"/>
            <a:hueOff val="2651673"/>
            <a:satOff val="97826"/>
            <a:lumOff val="-1438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Autisme</a:t>
          </a:r>
          <a:endParaRPr lang="nb-NO" sz="1000" b="1" kern="1200" dirty="0"/>
        </a:p>
      </dsp:txBody>
      <dsp:txXfrm>
        <a:off x="3814863" y="800159"/>
        <a:ext cx="1482954" cy="366475"/>
      </dsp:txXfrm>
    </dsp:sp>
    <dsp:sp modelId="{C9C77559-CC4B-4CFC-A771-37A6597AA28D}">
      <dsp:nvSpPr>
        <dsp:cNvPr id="0" name=""/>
        <dsp:cNvSpPr/>
      </dsp:nvSpPr>
      <dsp:spPr>
        <a:xfrm rot="2759757">
          <a:off x="4062575" y="679544"/>
          <a:ext cx="1960157" cy="577087"/>
        </a:xfrm>
        <a:prstGeom prst="ellipse">
          <a:avLst/>
        </a:prstGeom>
        <a:solidFill>
          <a:schemeClr val="accent3">
            <a:alpha val="50000"/>
            <a:hueOff val="2710599"/>
            <a:satOff val="100000"/>
            <a:lumOff val="-1470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b="1" kern="1200" dirty="0" smtClean="0"/>
            <a:t>Prematuritet</a:t>
          </a:r>
          <a:endParaRPr lang="nb-NO" sz="1000" b="1" kern="1200" dirty="0"/>
        </a:p>
      </dsp:txBody>
      <dsp:txXfrm>
        <a:off x="4349633" y="764056"/>
        <a:ext cx="1386041" cy="4080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nn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372877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645464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498011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40770449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088729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480105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3824731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450875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7057622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573559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n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Rediger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390706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9BA16F-BE70-4C78-8F6D-28DFB0F8C773}" type="datetimeFigureOut">
              <a:rPr lang="nn-NO" smtClean="0"/>
              <a:t>13.11.2019</a:t>
            </a:fld>
            <a:endParaRPr lang="nn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n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D47B97-B4B9-45D1-AA89-280EB60F3F7B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058213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2.xml"/><Relationship Id="rId7" Type="http://schemas.openxmlformats.org/officeDocument/2006/relationships/diagramData" Target="../diagrams/data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n-NO" dirty="0" smtClean="0"/>
              <a:t>Erfaringsbank pasientopplevingar i HFD og kommunane sett frå LMS</a:t>
            </a:r>
            <a:endParaRPr lang="nn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n-NO" dirty="0" smtClean="0"/>
              <a:t>Pasient og Pårørande Opplæring (PPO) er 1 av 4 lovpålagte oppgåver i HF og ei av LMS sine hovudoppgåver</a:t>
            </a:r>
          </a:p>
          <a:p>
            <a:r>
              <a:rPr lang="nn-NO" dirty="0" smtClean="0"/>
              <a:t>LMS har ikkje eigen klinisk verksemd, men direkte brukar og pasient kontakt ved planlegging, gjennomføring og evaluering av PPO.</a:t>
            </a:r>
          </a:p>
          <a:p>
            <a:r>
              <a:rPr lang="nn-NO" dirty="0" smtClean="0"/>
              <a:t>Ved gruppebasert PPO har avdelingane ansvaret for det faglege innhaldet og tilvising av pasientar medan LMS syter for erfaringskunnskap, struktur og gjennomføring. </a:t>
            </a:r>
          </a:p>
          <a:p>
            <a:r>
              <a:rPr lang="nn-NO" dirty="0" smtClean="0"/>
              <a:t>PPO kurs er svært ulike i form og målgrupper </a:t>
            </a:r>
          </a:p>
          <a:p>
            <a:pPr lvl="1"/>
            <a:r>
              <a:rPr lang="nn-NO" dirty="0" smtClean="0"/>
              <a:t>Evalueringane er difor ikkje standardiserte, og ein har heller ikkje einskapleg mål på tilfredshet eller utbytte.  </a:t>
            </a:r>
            <a:endParaRPr lang="nn-NO" dirty="0" smtClean="0"/>
          </a:p>
        </p:txBody>
      </p:sp>
    </p:spTree>
    <p:extLst>
      <p:ext uri="{BB962C8B-B14F-4D97-AF65-F5344CB8AC3E}">
        <p14:creationId xmlns:p14="http://schemas.microsoft.com/office/powerpoint/2010/main" val="23126107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n-NO" dirty="0" smtClean="0"/>
              <a:t>Samarbeid med kommunane</a:t>
            </a:r>
            <a:endParaRPr lang="nn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n-NO" dirty="0" smtClean="0"/>
              <a:t>LMS har ikkje felles kurs med kommunane</a:t>
            </a:r>
          </a:p>
          <a:p>
            <a:pPr lvl="1"/>
            <a:r>
              <a:rPr lang="nn-NO" dirty="0" smtClean="0"/>
              <a:t>… men har Møteplass for pårørande i psykisk helse i samarbeid med kommunar, PHV og LPP. Dette er ikkje eit kurs, men fora der helse kan lære av pårørande sine erfaringar. </a:t>
            </a:r>
          </a:p>
          <a:p>
            <a:r>
              <a:rPr lang="nn-NO" dirty="0" smtClean="0"/>
              <a:t>Har samarbeid knytt til kurs og ulike fora/samlingar knytt til innhald, gjennomføring, målgruppe og rekruttering. </a:t>
            </a:r>
          </a:p>
          <a:p>
            <a:r>
              <a:rPr lang="nn-NO" dirty="0" smtClean="0"/>
              <a:t>Har samarbeid kring opplæring og utveksling av erfaringar</a:t>
            </a:r>
          </a:p>
          <a:p>
            <a:pPr lvl="1"/>
            <a:r>
              <a:rPr lang="nn-NO" dirty="0" smtClean="0"/>
              <a:t>Kurs i Helsepedagogikk, Helsepedagogisk fora og </a:t>
            </a:r>
            <a:r>
              <a:rPr lang="nn-NO" dirty="0" err="1" smtClean="0"/>
              <a:t>Meistringstreff</a:t>
            </a:r>
            <a:endParaRPr lang="nn-NO" dirty="0" smtClean="0"/>
          </a:p>
          <a:p>
            <a:pPr lvl="1"/>
            <a:r>
              <a:rPr lang="nn-NO" dirty="0" smtClean="0"/>
              <a:t>HF har primært diagnosespesifikke kurs medan kommunane har meir generelle kurs. </a:t>
            </a:r>
          </a:p>
          <a:p>
            <a:pPr lvl="1"/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2099505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n-NO" dirty="0" smtClean="0"/>
              <a:t>Tilfredshet ved ulike gruppebaserte PPO kurs</a:t>
            </a:r>
            <a:endParaRPr lang="nn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n-NO" dirty="0" smtClean="0"/>
              <a:t>For å gi eit </a:t>
            </a:r>
            <a:r>
              <a:rPr lang="nn-NO" dirty="0" err="1" smtClean="0"/>
              <a:t>estimat</a:t>
            </a:r>
            <a:r>
              <a:rPr lang="nn-NO" dirty="0" smtClean="0"/>
              <a:t> av dette har ein sett på ulike kurs knytt til ulike fagområde som </a:t>
            </a:r>
            <a:r>
              <a:rPr lang="nn-NO" b="1" dirty="0" smtClean="0"/>
              <a:t>overvekt</a:t>
            </a:r>
            <a:r>
              <a:rPr lang="nn-NO" dirty="0" smtClean="0"/>
              <a:t>, </a:t>
            </a:r>
            <a:r>
              <a:rPr lang="nn-NO" b="1" dirty="0" smtClean="0"/>
              <a:t>diabetes</a:t>
            </a:r>
            <a:r>
              <a:rPr lang="nn-NO" dirty="0" smtClean="0"/>
              <a:t>, </a:t>
            </a:r>
            <a:r>
              <a:rPr lang="nn-NO" b="1" dirty="0" smtClean="0"/>
              <a:t>hørsel</a:t>
            </a:r>
            <a:r>
              <a:rPr lang="nn-NO" dirty="0" smtClean="0"/>
              <a:t>, </a:t>
            </a:r>
            <a:r>
              <a:rPr lang="nn-NO" b="1" dirty="0" smtClean="0"/>
              <a:t>MS</a:t>
            </a:r>
            <a:r>
              <a:rPr lang="nn-NO" dirty="0" smtClean="0"/>
              <a:t>, mfl. </a:t>
            </a:r>
          </a:p>
          <a:p>
            <a:r>
              <a:rPr lang="nn-NO" dirty="0" err="1" smtClean="0"/>
              <a:t>Måleparametera</a:t>
            </a:r>
            <a:r>
              <a:rPr lang="nn-NO" dirty="0" smtClean="0"/>
              <a:t> er ofte: </a:t>
            </a:r>
            <a:r>
              <a:rPr lang="nn-NO" b="1" dirty="0" smtClean="0"/>
              <a:t>Kunnskap om…</a:t>
            </a:r>
            <a:r>
              <a:rPr lang="nn-NO" dirty="0" smtClean="0"/>
              <a:t>, </a:t>
            </a:r>
            <a:r>
              <a:rPr lang="nn-NO" b="1" dirty="0" err="1" smtClean="0"/>
              <a:t>Meistring</a:t>
            </a:r>
            <a:r>
              <a:rPr lang="nn-NO" dirty="0" smtClean="0"/>
              <a:t>, </a:t>
            </a:r>
            <a:r>
              <a:rPr lang="nn-NO" b="1" dirty="0" smtClean="0"/>
              <a:t>Mental helse</a:t>
            </a:r>
            <a:r>
              <a:rPr lang="nn-NO" dirty="0" smtClean="0"/>
              <a:t>, </a:t>
            </a:r>
            <a:r>
              <a:rPr lang="nn-NO" b="1" dirty="0" smtClean="0"/>
              <a:t>Aktivitet</a:t>
            </a:r>
            <a:r>
              <a:rPr lang="nn-NO" dirty="0" smtClean="0"/>
              <a:t> og </a:t>
            </a:r>
            <a:r>
              <a:rPr lang="nn-NO" b="1" dirty="0" smtClean="0"/>
              <a:t>Kosthald</a:t>
            </a:r>
            <a:r>
              <a:rPr lang="nn-NO" dirty="0" smtClean="0"/>
              <a:t>, mfl. og svaralternativa typisk: </a:t>
            </a:r>
            <a:r>
              <a:rPr lang="nn-NO" b="1" dirty="0" smtClean="0"/>
              <a:t>Svært nyttig, nyttig, litt nyttig, lite nyttig </a:t>
            </a:r>
            <a:r>
              <a:rPr lang="nn-NO" dirty="0" smtClean="0"/>
              <a:t>til </a:t>
            </a:r>
            <a:r>
              <a:rPr lang="nn-NO" b="1" dirty="0" smtClean="0"/>
              <a:t>unyttig</a:t>
            </a:r>
            <a:r>
              <a:rPr lang="nn-NO" dirty="0" smtClean="0"/>
              <a:t> </a:t>
            </a:r>
          </a:p>
          <a:p>
            <a:r>
              <a:rPr lang="nn-NO" dirty="0" smtClean="0"/>
              <a:t>Overordna tendens (utan statistisk berekning) basert på svarkategoriar og median viser at:</a:t>
            </a:r>
          </a:p>
          <a:p>
            <a:pPr lvl="1"/>
            <a:r>
              <a:rPr lang="nn-NO" dirty="0" smtClean="0"/>
              <a:t>Nær 75% angir opplæringa som svært nyttig (frå 40% til 85%)</a:t>
            </a:r>
          </a:p>
          <a:p>
            <a:pPr lvl="1"/>
            <a:r>
              <a:rPr lang="nn-NO" dirty="0" smtClean="0"/>
              <a:t>Nær 25% angir opplæringa som nyttig (frå 15% til 50%)</a:t>
            </a:r>
          </a:p>
          <a:p>
            <a:pPr lvl="1"/>
            <a:r>
              <a:rPr lang="nn-NO" dirty="0" smtClean="0"/>
              <a:t>Relativt få angir lågare grad av utbytte, svært skjeldan lite nyttig</a:t>
            </a:r>
          </a:p>
          <a:p>
            <a:r>
              <a:rPr lang="nn-NO" dirty="0" smtClean="0"/>
              <a:t>Kunnskapsoppsummeringar viser god effekt av PPO, ingen grunn til at ikkje det skal gjelde også her. </a:t>
            </a:r>
          </a:p>
          <a:p>
            <a:pPr marL="457200" lvl="1" indent="0">
              <a:buNone/>
            </a:pPr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7767796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nb-NO" dirty="0" smtClean="0"/>
              <a:t>Døme evaluering, same kurs ulike tidspunkt</a:t>
            </a:r>
            <a:endParaRPr lang="nn-NO" dirty="0"/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17916" y="1398414"/>
            <a:ext cx="4833650" cy="5167849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1829" y="1398414"/>
            <a:ext cx="5172891" cy="518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7593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nb-NO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202911" y="0"/>
            <a:ext cx="9235688" cy="720090"/>
          </a:xfrm>
        </p:spPr>
        <p:txBody>
          <a:bodyPr>
            <a:noAutofit/>
          </a:bodyPr>
          <a:lstStyle/>
          <a:p>
            <a:r>
              <a:rPr lang="nb-NO" sz="1800" b="0" dirty="0" smtClean="0">
                <a:solidFill>
                  <a:schemeClr val="accent1">
                    <a:lumMod val="75000"/>
                  </a:schemeClr>
                </a:solidFill>
              </a:rPr>
              <a:t>PPO </a:t>
            </a:r>
            <a:r>
              <a:rPr lang="nb-NO" sz="1800" b="0" dirty="0" err="1" smtClean="0">
                <a:solidFill>
                  <a:schemeClr val="accent1">
                    <a:lumMod val="75000"/>
                  </a:schemeClr>
                </a:solidFill>
              </a:rPr>
              <a:t>frå</a:t>
            </a:r>
            <a:r>
              <a:rPr lang="nb-NO" sz="1800" b="0" dirty="0" smtClean="0">
                <a:solidFill>
                  <a:schemeClr val="accent1">
                    <a:lumMod val="75000"/>
                  </a:schemeClr>
                </a:solidFill>
              </a:rPr>
              <a:t> kurskalender siste 3 år</a:t>
            </a:r>
            <a:r>
              <a:rPr lang="nb-NO" sz="1400" b="0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nb-NO" sz="1400" b="0" dirty="0" smtClean="0">
                <a:solidFill>
                  <a:schemeClr val="accent1">
                    <a:lumMod val="75000"/>
                  </a:schemeClr>
                </a:solidFill>
              </a:rPr>
            </a:br>
            <a:endParaRPr lang="nb-NO" sz="1800" b="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701965" y="244764"/>
          <a:ext cx="11139053" cy="6613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53704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unnskapsoppsummering om PPO</a:t>
            </a:r>
            <a:endParaRPr lang="nn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nb-NO" dirty="0"/>
              <a:t>Nasjonal kompetansetjeneste for læring og mestring innen helse (NK LMH</a:t>
            </a:r>
            <a:r>
              <a:rPr lang="nb-NO" dirty="0" smtClean="0"/>
              <a:t>) har referert </a:t>
            </a:r>
            <a:r>
              <a:rPr lang="nb-NO" dirty="0" err="1" smtClean="0"/>
              <a:t>fleire</a:t>
            </a:r>
            <a:r>
              <a:rPr lang="nb-NO" dirty="0" smtClean="0"/>
              <a:t> </a:t>
            </a:r>
            <a:r>
              <a:rPr lang="nb-NO" dirty="0" err="1" smtClean="0"/>
              <a:t>studiar</a:t>
            </a:r>
            <a:r>
              <a:rPr lang="nb-NO" dirty="0" smtClean="0"/>
              <a:t> knytt til </a:t>
            </a:r>
            <a:r>
              <a:rPr lang="nb-NO" dirty="0" err="1" smtClean="0"/>
              <a:t>effektar</a:t>
            </a:r>
            <a:r>
              <a:rPr lang="nb-NO" dirty="0" smtClean="0"/>
              <a:t> av PPO </a:t>
            </a:r>
            <a:r>
              <a:rPr lang="nb-NO" dirty="0" err="1" smtClean="0"/>
              <a:t>frå</a:t>
            </a:r>
            <a:r>
              <a:rPr lang="nb-NO" dirty="0" smtClean="0"/>
              <a:t> inn og utland, og det ligg føre tre </a:t>
            </a:r>
            <a:r>
              <a:rPr lang="nb-NO" b="1" dirty="0" err="1" smtClean="0"/>
              <a:t>kunnskapsoppsummeringar</a:t>
            </a:r>
            <a:endParaRPr lang="nb-NO" b="1" dirty="0" smtClean="0"/>
          </a:p>
          <a:p>
            <a:r>
              <a:rPr lang="nb-NO" dirty="0" err="1" smtClean="0"/>
              <a:t>Vaksne</a:t>
            </a:r>
            <a:r>
              <a:rPr lang="nb-NO" dirty="0" smtClean="0"/>
              <a:t> – basert på 56 kvalitativt gode </a:t>
            </a:r>
            <a:r>
              <a:rPr lang="nb-NO" dirty="0" err="1" smtClean="0"/>
              <a:t>studiar</a:t>
            </a:r>
            <a:r>
              <a:rPr lang="nb-NO" dirty="0" smtClean="0"/>
              <a:t> viser </a:t>
            </a:r>
          </a:p>
          <a:p>
            <a:pPr lvl="1"/>
            <a:r>
              <a:rPr lang="nb-NO" dirty="0" smtClean="0"/>
              <a:t>«…mer enn 80% (46 studier) at deltakelse i tilbud … er svært effektivt for å kutte kostnader i helsetjenesten. … færre eller kortere sykehusinnleggelser, færre konsultasjoner i poliklinikk og hos fastlege, samt færre sykedager enn de som ikke deltar</a:t>
            </a:r>
          </a:p>
          <a:p>
            <a:pPr lvl="1"/>
            <a:r>
              <a:rPr lang="nb-NO" dirty="0" smtClean="0"/>
              <a:t>I </a:t>
            </a:r>
            <a:r>
              <a:rPr lang="nb-NO" dirty="0" err="1" smtClean="0"/>
              <a:t>fleire</a:t>
            </a:r>
            <a:r>
              <a:rPr lang="nb-NO" dirty="0" smtClean="0"/>
              <a:t> </a:t>
            </a:r>
            <a:r>
              <a:rPr lang="nb-NO" dirty="0" err="1" smtClean="0"/>
              <a:t>studiar</a:t>
            </a:r>
            <a:r>
              <a:rPr lang="nb-NO" dirty="0" smtClean="0"/>
              <a:t> «..rapporteres det også positive resultater på kvalitetsjusterte leveår (QALY)». </a:t>
            </a:r>
          </a:p>
          <a:p>
            <a:r>
              <a:rPr lang="nb-NO" dirty="0" smtClean="0"/>
              <a:t>Barn og unge - basert på 69 kvalitativt gode </a:t>
            </a:r>
            <a:r>
              <a:rPr lang="nb-NO" dirty="0" err="1" smtClean="0"/>
              <a:t>studiar</a:t>
            </a:r>
            <a:r>
              <a:rPr lang="nb-NO" dirty="0" smtClean="0"/>
              <a:t> med n = 12124</a:t>
            </a:r>
          </a:p>
          <a:p>
            <a:pPr lvl="1"/>
            <a:r>
              <a:rPr lang="nb-NO" dirty="0" smtClean="0"/>
              <a:t>«…færre </a:t>
            </a:r>
            <a:r>
              <a:rPr lang="nb-NO" dirty="0"/>
              <a:t>symptomer og helseplager, bedre etterlevelse av medisinering og/eller lavere forbruk av medisiner, samt økt kunnskap etter deltakelse</a:t>
            </a:r>
            <a:r>
              <a:rPr lang="nb-NO" dirty="0" smtClean="0"/>
              <a:t>.»</a:t>
            </a:r>
          </a:p>
          <a:p>
            <a:pPr lvl="1"/>
            <a:r>
              <a:rPr lang="nb-NO" dirty="0" smtClean="0"/>
              <a:t>«Resultatene </a:t>
            </a:r>
            <a:r>
              <a:rPr lang="nb-NO" dirty="0"/>
              <a:t>som omhandler livskvalitet er noe mer variert. Alle studiene som har undersøkt fysisk aktivitet viser til positive endringer</a:t>
            </a:r>
            <a:r>
              <a:rPr lang="nb-NO" dirty="0" smtClean="0"/>
              <a:t>.»</a:t>
            </a:r>
          </a:p>
          <a:p>
            <a:pPr lvl="1"/>
            <a:r>
              <a:rPr lang="nb-NO" dirty="0" smtClean="0"/>
              <a:t>«… viser 14 </a:t>
            </a:r>
            <a:r>
              <a:rPr lang="nb-NO" dirty="0"/>
              <a:t>av 17 studier at barn og unge etter deltakelse har lavere forbruk av helsetjenester (både i primær- og spesialisthelsetjenesten) og færre fraværsdager fra skole</a:t>
            </a:r>
            <a:r>
              <a:rPr lang="nb-NO" dirty="0" smtClean="0"/>
              <a:t>.»</a:t>
            </a:r>
          </a:p>
          <a:p>
            <a:pPr lvl="1"/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2172234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cvk_qF.5EUT8DopiRfwg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4</TotalTime>
  <Words>689</Words>
  <Application>Microsoft Office PowerPoint</Application>
  <PresentationFormat>Widescreen</PresentationFormat>
  <Paragraphs>80</Paragraphs>
  <Slides>6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-tema</vt:lpstr>
      <vt:lpstr>think-cell Slide</vt:lpstr>
      <vt:lpstr>Erfaringsbank pasientopplevingar i HFD og kommunane sett frå LMS</vt:lpstr>
      <vt:lpstr>Samarbeid med kommunane</vt:lpstr>
      <vt:lpstr>Tilfredshet ved ulike gruppebaserte PPO kurs</vt:lpstr>
      <vt:lpstr>Døme evaluering, same kurs ulike tidspunkt</vt:lpstr>
      <vt:lpstr>PPO frå kurskalender siste 3 år </vt:lpstr>
      <vt:lpstr>Kunnskapsoppsummering om PPO</vt:lpstr>
    </vt:vector>
  </TitlesOfParts>
  <Company>Helse Ve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Lillebø, Are Mikael</dc:creator>
  <cp:lastModifiedBy>Holvik, Tone</cp:lastModifiedBy>
  <cp:revision>13</cp:revision>
  <dcterms:created xsi:type="dcterms:W3CDTF">2019-11-13T10:13:03Z</dcterms:created>
  <dcterms:modified xsi:type="dcterms:W3CDTF">2019-11-13T19:43:24Z</dcterms:modified>
</cp:coreProperties>
</file>